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9" r:id="rId2"/>
    <p:sldId id="258" r:id="rId3"/>
    <p:sldId id="260" r:id="rId4"/>
    <p:sldId id="261" r:id="rId5"/>
    <p:sldId id="262" r:id="rId6"/>
    <p:sldId id="263" r:id="rId7"/>
  </p:sldIdLst>
  <p:sldSz cx="9144000" cy="6858000" type="screen4x3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290" d="100"/>
          <a:sy n="290" d="100"/>
        </p:scale>
        <p:origin x="8088" y="25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1454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50D42-C9CD-4801-B293-61D1F53EC57E}" type="datetimeFigureOut">
              <a:rPr lang="de-DE" smtClean="0"/>
              <a:t>17.0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905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6" name="Gruppieren 255"/>
          <p:cNvGrpSpPr/>
          <p:nvPr/>
        </p:nvGrpSpPr>
        <p:grpSpPr>
          <a:xfrm>
            <a:off x="326173" y="453524"/>
            <a:ext cx="2900882" cy="2334915"/>
            <a:chOff x="326173" y="453524"/>
            <a:chExt cx="2900882" cy="2334915"/>
          </a:xfrm>
        </p:grpSpPr>
        <p:grpSp>
          <p:nvGrpSpPr>
            <p:cNvPr id="53" name="Gruppieren 52"/>
            <p:cNvGrpSpPr/>
            <p:nvPr/>
          </p:nvGrpSpPr>
          <p:grpSpPr>
            <a:xfrm>
              <a:off x="326173" y="453524"/>
              <a:ext cx="2900882" cy="2334915"/>
              <a:chOff x="2041236" y="727759"/>
              <a:chExt cx="4370327" cy="3595996"/>
            </a:xfrm>
          </p:grpSpPr>
          <p:grpSp>
            <p:nvGrpSpPr>
              <p:cNvPr id="52" name="Gruppieren 51"/>
              <p:cNvGrpSpPr/>
              <p:nvPr/>
            </p:nvGrpSpPr>
            <p:grpSpPr>
              <a:xfrm>
                <a:off x="2041236" y="727759"/>
                <a:ext cx="4370327" cy="3595996"/>
                <a:chOff x="2041236" y="727759"/>
                <a:chExt cx="4370327" cy="3595996"/>
              </a:xfrm>
            </p:grpSpPr>
            <p:grpSp>
              <p:nvGrpSpPr>
                <p:cNvPr id="20" name="Gruppieren 19"/>
                <p:cNvGrpSpPr/>
                <p:nvPr/>
              </p:nvGrpSpPr>
              <p:grpSpPr>
                <a:xfrm>
                  <a:off x="2041236" y="727759"/>
                  <a:ext cx="4370327" cy="3595996"/>
                  <a:chOff x="2041236" y="727759"/>
                  <a:chExt cx="4370327" cy="3595996"/>
                </a:xfrm>
              </p:grpSpPr>
              <p:grpSp>
                <p:nvGrpSpPr>
                  <p:cNvPr id="40" name="Gruppieren 39"/>
                  <p:cNvGrpSpPr/>
                  <p:nvPr/>
                </p:nvGrpSpPr>
                <p:grpSpPr>
                  <a:xfrm>
                    <a:off x="3779912" y="727759"/>
                    <a:ext cx="935164" cy="2735873"/>
                    <a:chOff x="6742416" y="3265227"/>
                    <a:chExt cx="935164" cy="2735873"/>
                  </a:xfrm>
                </p:grpSpPr>
                <p:sp>
                  <p:nvSpPr>
                    <p:cNvPr id="38" name="Freihandform 37"/>
                    <p:cNvSpPr/>
                    <p:nvPr/>
                  </p:nvSpPr>
                  <p:spPr>
                    <a:xfrm>
                      <a:off x="6777480" y="3265227"/>
                      <a:ext cx="633890" cy="2089538"/>
                    </a:xfrm>
                    <a:custGeom>
                      <a:avLst/>
                      <a:gdLst>
                        <a:gd name="connsiteX0" fmla="*/ 0 w 1080654"/>
                        <a:gd name="connsiteY0" fmla="*/ 1893454 h 2068568"/>
                        <a:gd name="connsiteX1" fmla="*/ 794327 w 1080654"/>
                        <a:gd name="connsiteY1" fmla="*/ 1884218 h 2068568"/>
                        <a:gd name="connsiteX2" fmla="*/ 1080654 w 1080654"/>
                        <a:gd name="connsiteY2" fmla="*/ 0 h 2068568"/>
                        <a:gd name="connsiteX0" fmla="*/ 0 w 286327"/>
                        <a:gd name="connsiteY0" fmla="*/ 1884218 h 1884218"/>
                        <a:gd name="connsiteX1" fmla="*/ 286327 w 286327"/>
                        <a:gd name="connsiteY1" fmla="*/ 0 h 1884218"/>
                        <a:gd name="connsiteX0" fmla="*/ 0 w 563418"/>
                        <a:gd name="connsiteY0" fmla="*/ 2087418 h 2087418"/>
                        <a:gd name="connsiteX1" fmla="*/ 563418 w 563418"/>
                        <a:gd name="connsiteY1" fmla="*/ 0 h 2087418"/>
                        <a:gd name="connsiteX0" fmla="*/ 0 w 563418"/>
                        <a:gd name="connsiteY0" fmla="*/ 2087418 h 2089517"/>
                        <a:gd name="connsiteX1" fmla="*/ 563418 w 563418"/>
                        <a:gd name="connsiteY1" fmla="*/ 0 h 2089517"/>
                        <a:gd name="connsiteX0" fmla="*/ 0 w 633890"/>
                        <a:gd name="connsiteY0" fmla="*/ 2087418 h 2089538"/>
                        <a:gd name="connsiteX1" fmla="*/ 563418 w 633890"/>
                        <a:gd name="connsiteY1" fmla="*/ 0 h 20895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3890" h="2089538">
                          <a:moveTo>
                            <a:pt x="0" y="2087418"/>
                          </a:moveTo>
                          <a:cubicBezTo>
                            <a:pt x="484909" y="2159769"/>
                            <a:pt x="775854" y="358679"/>
                            <a:pt x="563418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39" name="Rechteck 38"/>
                    <p:cNvSpPr/>
                    <p:nvPr/>
                  </p:nvSpPr>
                  <p:spPr>
                    <a:xfrm>
                      <a:off x="6742416" y="4056884"/>
                      <a:ext cx="935164" cy="194421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grpSp>
                <p:nvGrpSpPr>
                  <p:cNvPr id="30" name="Gruppieren 29"/>
                  <p:cNvGrpSpPr/>
                  <p:nvPr/>
                </p:nvGrpSpPr>
                <p:grpSpPr>
                  <a:xfrm>
                    <a:off x="4158424" y="727760"/>
                    <a:ext cx="2160240" cy="2376264"/>
                    <a:chOff x="4139952" y="908720"/>
                    <a:chExt cx="2160240" cy="2376264"/>
                  </a:xfrm>
                </p:grpSpPr>
                <p:grpSp>
                  <p:nvGrpSpPr>
                    <p:cNvPr id="26" name="Gruppieren 25"/>
                    <p:cNvGrpSpPr/>
                    <p:nvPr/>
                  </p:nvGrpSpPr>
                  <p:grpSpPr>
                    <a:xfrm>
                      <a:off x="4139952" y="908720"/>
                      <a:ext cx="2160240" cy="2376264"/>
                      <a:chOff x="4139952" y="908720"/>
                      <a:chExt cx="2160240" cy="2376264"/>
                    </a:xfrm>
                  </p:grpSpPr>
                  <p:cxnSp>
                    <p:nvCxnSpPr>
                      <p:cNvPr id="5" name="Gerade Verbindung 4"/>
                      <p:cNvCxnSpPr/>
                      <p:nvPr/>
                    </p:nvCxnSpPr>
                    <p:spPr>
                      <a:xfrm flipH="1">
                        <a:off x="4139952" y="908720"/>
                        <a:ext cx="432048" cy="2376264"/>
                      </a:xfrm>
                      <a:prstGeom prst="line">
                        <a:avLst/>
                      </a:prstGeom>
                      <a:ln w="12700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6" name="Gerade Verbindung 5"/>
                      <p:cNvCxnSpPr/>
                      <p:nvPr/>
                    </p:nvCxnSpPr>
                    <p:spPr>
                      <a:xfrm flipH="1">
                        <a:off x="4139952" y="3068960"/>
                        <a:ext cx="2160240" cy="216024"/>
                      </a:xfrm>
                      <a:prstGeom prst="line">
                        <a:avLst/>
                      </a:prstGeom>
                      <a:ln w="12700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cxnSp>
                  <p:nvCxnSpPr>
                    <p:cNvPr id="28" name="Gerade Verbindung 27"/>
                    <p:cNvCxnSpPr/>
                    <p:nvPr/>
                  </p:nvCxnSpPr>
                  <p:spPr>
                    <a:xfrm rot="16200000" flipH="1">
                      <a:off x="4355976" y="1124744"/>
                      <a:ext cx="2160240" cy="1728192"/>
                    </a:xfrm>
                    <a:prstGeom prst="curvedConnector3">
                      <a:avLst>
                        <a:gd name="adj1" fmla="val 50000"/>
                      </a:avLst>
                    </a:prstGeom>
                    <a:ln w="12700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36" name="Gruppieren 35"/>
                  <p:cNvGrpSpPr/>
                  <p:nvPr/>
                </p:nvGrpSpPr>
                <p:grpSpPr>
                  <a:xfrm>
                    <a:off x="2047960" y="763397"/>
                    <a:ext cx="1874940" cy="2089540"/>
                    <a:chOff x="2069203" y="740761"/>
                    <a:chExt cx="1874940" cy="2089540"/>
                  </a:xfrm>
                </p:grpSpPr>
                <p:sp>
                  <p:nvSpPr>
                    <p:cNvPr id="33" name="Freihandform 32"/>
                    <p:cNvSpPr/>
                    <p:nvPr/>
                  </p:nvSpPr>
                  <p:spPr>
                    <a:xfrm>
                      <a:off x="3544247" y="740761"/>
                      <a:ext cx="399896" cy="2059735"/>
                    </a:xfrm>
                    <a:custGeom>
                      <a:avLst/>
                      <a:gdLst>
                        <a:gd name="connsiteX0" fmla="*/ 0 w 1080654"/>
                        <a:gd name="connsiteY0" fmla="*/ 1893454 h 2068568"/>
                        <a:gd name="connsiteX1" fmla="*/ 794327 w 1080654"/>
                        <a:gd name="connsiteY1" fmla="*/ 1884218 h 2068568"/>
                        <a:gd name="connsiteX2" fmla="*/ 1080654 w 1080654"/>
                        <a:gd name="connsiteY2" fmla="*/ 0 h 2068568"/>
                        <a:gd name="connsiteX0" fmla="*/ 0 w 286327"/>
                        <a:gd name="connsiteY0" fmla="*/ 1884218 h 1884218"/>
                        <a:gd name="connsiteX1" fmla="*/ 286327 w 286327"/>
                        <a:gd name="connsiteY1" fmla="*/ 0 h 1884218"/>
                        <a:gd name="connsiteX0" fmla="*/ 0 w 563418"/>
                        <a:gd name="connsiteY0" fmla="*/ 2087418 h 2087418"/>
                        <a:gd name="connsiteX1" fmla="*/ 563418 w 563418"/>
                        <a:gd name="connsiteY1" fmla="*/ 0 h 2087418"/>
                        <a:gd name="connsiteX0" fmla="*/ 0 w 563418"/>
                        <a:gd name="connsiteY0" fmla="*/ 2087418 h 2089517"/>
                        <a:gd name="connsiteX1" fmla="*/ 563418 w 563418"/>
                        <a:gd name="connsiteY1" fmla="*/ 0 h 2089517"/>
                        <a:gd name="connsiteX0" fmla="*/ 0 w 633890"/>
                        <a:gd name="connsiteY0" fmla="*/ 2087418 h 2089538"/>
                        <a:gd name="connsiteX1" fmla="*/ 563418 w 633890"/>
                        <a:gd name="connsiteY1" fmla="*/ 0 h 2089538"/>
                        <a:gd name="connsiteX0" fmla="*/ 0 w 496850"/>
                        <a:gd name="connsiteY0" fmla="*/ 2068946 h 2071087"/>
                        <a:gd name="connsiteX1" fmla="*/ 397163 w 496850"/>
                        <a:gd name="connsiteY1" fmla="*/ 0 h 2071087"/>
                        <a:gd name="connsiteX0" fmla="*/ 0 w 429571"/>
                        <a:gd name="connsiteY0" fmla="*/ 2059710 h 2061862"/>
                        <a:gd name="connsiteX1" fmla="*/ 304799 w 429571"/>
                        <a:gd name="connsiteY1" fmla="*/ 0 h 2061862"/>
                        <a:gd name="connsiteX0" fmla="*/ 0 w 429571"/>
                        <a:gd name="connsiteY0" fmla="*/ 2059710 h 2059710"/>
                        <a:gd name="connsiteX1" fmla="*/ 304799 w 429571"/>
                        <a:gd name="connsiteY1" fmla="*/ 0 h 2059710"/>
                        <a:gd name="connsiteX0" fmla="*/ 0 w 429571"/>
                        <a:gd name="connsiteY0" fmla="*/ 2059710 h 2059710"/>
                        <a:gd name="connsiteX1" fmla="*/ 304799 w 429571"/>
                        <a:gd name="connsiteY1" fmla="*/ 0 h 2059710"/>
                        <a:gd name="connsiteX0" fmla="*/ 0 w 399896"/>
                        <a:gd name="connsiteY0" fmla="*/ 2059710 h 2059735"/>
                        <a:gd name="connsiteX1" fmla="*/ 304799 w 399896"/>
                        <a:gd name="connsiteY1" fmla="*/ 0 h 20597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99896" h="2059735">
                          <a:moveTo>
                            <a:pt x="0" y="2059710"/>
                          </a:moveTo>
                          <a:cubicBezTo>
                            <a:pt x="355599" y="2067407"/>
                            <a:pt x="517235" y="358679"/>
                            <a:pt x="304799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  <p:cxnSp>
                  <p:nvCxnSpPr>
                    <p:cNvPr id="35" name="Gerade Verbindung 34"/>
                    <p:cNvCxnSpPr>
                      <a:endCxn id="33" idx="0"/>
                    </p:cNvCxnSpPr>
                    <p:nvPr/>
                  </p:nvCxnSpPr>
                  <p:spPr>
                    <a:xfrm flipV="1">
                      <a:off x="2069203" y="2800471"/>
                      <a:ext cx="1475044" cy="29830"/>
                    </a:xfrm>
                    <a:prstGeom prst="line">
                      <a:avLst/>
                    </a:prstGeom>
                    <a:noFill/>
                    <a:ln w="127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</p:cxnSp>
              </p:grpSp>
              <p:cxnSp>
                <p:nvCxnSpPr>
                  <p:cNvPr id="48" name="Gerade Verbindung 47"/>
                  <p:cNvCxnSpPr/>
                  <p:nvPr/>
                </p:nvCxnSpPr>
                <p:spPr>
                  <a:xfrm flipH="1">
                    <a:off x="4158424" y="1536603"/>
                    <a:ext cx="290442" cy="1567421"/>
                  </a:xfrm>
                  <a:prstGeom prst="line">
                    <a:avLst/>
                  </a:prstGeom>
                  <a:ln w="12700">
                    <a:solidFill>
                      <a:schemeClr val="accent2"/>
                    </a:solidFill>
                    <a:prstDash val="sysDot"/>
                  </a:ln>
                  <a:effectLst>
                    <a:glow>
                      <a:schemeClr val="accent2">
                        <a:satMod val="175000"/>
                        <a:alpha val="40000"/>
                      </a:schemeClr>
                    </a:glow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Gerade Verbindung 48"/>
                  <p:cNvCxnSpPr/>
                  <p:nvPr/>
                </p:nvCxnSpPr>
                <p:spPr>
                  <a:xfrm>
                    <a:off x="4158424" y="3104024"/>
                    <a:ext cx="2213776" cy="0"/>
                  </a:xfrm>
                  <a:prstGeom prst="line">
                    <a:avLst/>
                  </a:prstGeom>
                  <a:noFill/>
                  <a:ln w="1270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57" name="Gerade Verbindung 56"/>
                  <p:cNvCxnSpPr/>
                  <p:nvPr/>
                </p:nvCxnSpPr>
                <p:spPr>
                  <a:xfrm>
                    <a:off x="3635896" y="2823107"/>
                    <a:ext cx="504056" cy="262445"/>
                  </a:xfrm>
                  <a:prstGeom prst="line">
                    <a:avLst/>
                  </a:prstGeom>
                  <a:ln w="12700">
                    <a:solidFill>
                      <a:schemeClr val="accent2"/>
                    </a:solidFill>
                    <a:prstDash val="sysDot"/>
                  </a:ln>
                  <a:effectLst>
                    <a:glow>
                      <a:schemeClr val="accent2">
                        <a:satMod val="175000"/>
                        <a:alpha val="40000"/>
                      </a:schemeClr>
                    </a:glow>
                    <a:softEdge rad="0"/>
                  </a:effectLst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1" name="Textfeld 60"/>
                  <p:cNvSpPr txBox="1"/>
                  <p:nvPr/>
                </p:nvSpPr>
                <p:spPr>
                  <a:xfrm>
                    <a:off x="5637947" y="2473019"/>
                    <a:ext cx="773616" cy="246221"/>
                  </a:xfrm>
                  <a:prstGeom prst="rect">
                    <a:avLst/>
                  </a:prstGeom>
                  <a:noFill/>
                  <a:ln w="1270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Tool</a:t>
                    </a:r>
                    <a:endPara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grpSp>
                <p:nvGrpSpPr>
                  <p:cNvPr id="72" name="Gruppieren 71"/>
                  <p:cNvGrpSpPr/>
                  <p:nvPr/>
                </p:nvGrpSpPr>
                <p:grpSpPr>
                  <a:xfrm>
                    <a:off x="2533364" y="2135647"/>
                    <a:ext cx="989640" cy="373064"/>
                    <a:chOff x="4590472" y="2135647"/>
                    <a:chExt cx="989640" cy="373064"/>
                  </a:xfrm>
                </p:grpSpPr>
                <p:cxnSp>
                  <p:nvCxnSpPr>
                    <p:cNvPr id="63" name="Gerade Verbindung mit Pfeil 62"/>
                    <p:cNvCxnSpPr/>
                    <p:nvPr/>
                  </p:nvCxnSpPr>
                  <p:spPr>
                    <a:xfrm flipH="1">
                      <a:off x="4590472" y="2508711"/>
                      <a:ext cx="989640" cy="0"/>
                    </a:xfrm>
                    <a:prstGeom prst="straightConnector1">
                      <a:avLst/>
                    </a:prstGeom>
                    <a:ln w="12700">
                      <a:solidFill>
                        <a:schemeClr val="tx1"/>
                      </a:solidFill>
                      <a:tailEnd type="triangle" w="lg" len="lg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68" name="Textfeld 67"/>
                    <p:cNvSpPr txBox="1"/>
                    <p:nvPr/>
                  </p:nvSpPr>
                  <p:spPr>
                    <a:xfrm>
                      <a:off x="4698484" y="2135647"/>
                      <a:ext cx="773616" cy="246221"/>
                    </a:xfrm>
                    <a:prstGeom prst="rect">
                      <a:avLst/>
                    </a:prstGeom>
                    <a:noFill/>
                    <a:ln w="12700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1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000" baseline="-25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endParaRPr lang="en-US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sp>
                <p:nvSpPr>
                  <p:cNvPr id="69" name="Textfeld 68"/>
                  <p:cNvSpPr txBox="1"/>
                  <p:nvPr/>
                </p:nvSpPr>
                <p:spPr>
                  <a:xfrm>
                    <a:off x="3870392" y="750939"/>
                    <a:ext cx="773616" cy="246221"/>
                  </a:xfrm>
                  <a:prstGeom prst="rect">
                    <a:avLst/>
                  </a:prstGeom>
                  <a:noFill/>
                  <a:ln w="1270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hip</a:t>
                    </a:r>
                    <a:endPara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" name="Freihandform 1"/>
                  <p:cNvSpPr/>
                  <p:nvPr/>
                </p:nvSpPr>
                <p:spPr>
                  <a:xfrm>
                    <a:off x="2041236" y="2854036"/>
                    <a:ext cx="4350328" cy="1469719"/>
                  </a:xfrm>
                  <a:custGeom>
                    <a:avLst/>
                    <a:gdLst>
                      <a:gd name="connsiteX0" fmla="*/ 0 w 4350328"/>
                      <a:gd name="connsiteY0" fmla="*/ 0 h 1432846"/>
                      <a:gd name="connsiteX1" fmla="*/ 1902691 w 4350328"/>
                      <a:gd name="connsiteY1" fmla="*/ 1431637 h 1432846"/>
                      <a:gd name="connsiteX2" fmla="*/ 4350328 w 4350328"/>
                      <a:gd name="connsiteY2" fmla="*/ 249382 h 1432846"/>
                      <a:gd name="connsiteX0" fmla="*/ 0 w 4350328"/>
                      <a:gd name="connsiteY0" fmla="*/ 0 h 1469719"/>
                      <a:gd name="connsiteX1" fmla="*/ 1902691 w 4350328"/>
                      <a:gd name="connsiteY1" fmla="*/ 1431637 h 1469719"/>
                      <a:gd name="connsiteX2" fmla="*/ 3084946 w 4350328"/>
                      <a:gd name="connsiteY2" fmla="*/ 988291 h 1469719"/>
                      <a:gd name="connsiteX3" fmla="*/ 4350328 w 4350328"/>
                      <a:gd name="connsiteY3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902691 w 4350328"/>
                      <a:gd name="connsiteY2" fmla="*/ 1431637 h 1469719"/>
                      <a:gd name="connsiteX3" fmla="*/ 3084946 w 4350328"/>
                      <a:gd name="connsiteY3" fmla="*/ 988291 h 1469719"/>
                      <a:gd name="connsiteX4" fmla="*/ 4350328 w 4350328"/>
                      <a:gd name="connsiteY4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350328 w 4350328"/>
                      <a:gd name="connsiteY5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350328 w 4350328"/>
                      <a:gd name="connsiteY5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350328 w 4350328"/>
                      <a:gd name="connsiteY5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350328 w 4350328"/>
                      <a:gd name="connsiteY5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3629891 w 4350328"/>
                      <a:gd name="connsiteY5" fmla="*/ 738909 h 1469719"/>
                      <a:gd name="connsiteX6" fmla="*/ 4350328 w 4350328"/>
                      <a:gd name="connsiteY6" fmla="*/ 249382 h 1469719"/>
                      <a:gd name="connsiteX0" fmla="*/ 0 w 4350328"/>
                      <a:gd name="connsiteY0" fmla="*/ 0 h 1469719"/>
                      <a:gd name="connsiteX1" fmla="*/ 775855 w 4350328"/>
                      <a:gd name="connsiteY1" fmla="*/ 840509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184073 w 4350328"/>
                      <a:gd name="connsiteY5" fmla="*/ 988291 h 1469719"/>
                      <a:gd name="connsiteX6" fmla="*/ 4350328 w 4350328"/>
                      <a:gd name="connsiteY6" fmla="*/ 249382 h 1469719"/>
                      <a:gd name="connsiteX0" fmla="*/ 0 w 4350328"/>
                      <a:gd name="connsiteY0" fmla="*/ 0 h 1469719"/>
                      <a:gd name="connsiteX1" fmla="*/ 193964 w 4350328"/>
                      <a:gd name="connsiteY1" fmla="*/ 572655 h 1469719"/>
                      <a:gd name="connsiteX2" fmla="*/ 1348509 w 4350328"/>
                      <a:gd name="connsiteY2" fmla="*/ 1219200 h 1469719"/>
                      <a:gd name="connsiteX3" fmla="*/ 1902691 w 4350328"/>
                      <a:gd name="connsiteY3" fmla="*/ 1431637 h 1469719"/>
                      <a:gd name="connsiteX4" fmla="*/ 3084946 w 4350328"/>
                      <a:gd name="connsiteY4" fmla="*/ 988291 h 1469719"/>
                      <a:gd name="connsiteX5" fmla="*/ 4184073 w 4350328"/>
                      <a:gd name="connsiteY5" fmla="*/ 988291 h 1469719"/>
                      <a:gd name="connsiteX6" fmla="*/ 4350328 w 4350328"/>
                      <a:gd name="connsiteY6" fmla="*/ 249382 h 1469719"/>
                      <a:gd name="connsiteX0" fmla="*/ 0 w 4350328"/>
                      <a:gd name="connsiteY0" fmla="*/ 0 h 1469719"/>
                      <a:gd name="connsiteX1" fmla="*/ 193964 w 4350328"/>
                      <a:gd name="connsiteY1" fmla="*/ 572655 h 1469719"/>
                      <a:gd name="connsiteX2" fmla="*/ 812800 w 4350328"/>
                      <a:gd name="connsiteY2" fmla="*/ 979055 h 1469719"/>
                      <a:gd name="connsiteX3" fmla="*/ 1348509 w 4350328"/>
                      <a:gd name="connsiteY3" fmla="*/ 1219200 h 1469719"/>
                      <a:gd name="connsiteX4" fmla="*/ 1902691 w 4350328"/>
                      <a:gd name="connsiteY4" fmla="*/ 1431637 h 1469719"/>
                      <a:gd name="connsiteX5" fmla="*/ 3084946 w 4350328"/>
                      <a:gd name="connsiteY5" fmla="*/ 988291 h 1469719"/>
                      <a:gd name="connsiteX6" fmla="*/ 4184073 w 4350328"/>
                      <a:gd name="connsiteY6" fmla="*/ 988291 h 1469719"/>
                      <a:gd name="connsiteX7" fmla="*/ 4350328 w 4350328"/>
                      <a:gd name="connsiteY7" fmla="*/ 249382 h 1469719"/>
                      <a:gd name="connsiteX0" fmla="*/ 0 w 4350328"/>
                      <a:gd name="connsiteY0" fmla="*/ 0 h 1469719"/>
                      <a:gd name="connsiteX1" fmla="*/ 193964 w 4350328"/>
                      <a:gd name="connsiteY1" fmla="*/ 572655 h 1469719"/>
                      <a:gd name="connsiteX2" fmla="*/ 812800 w 4350328"/>
                      <a:gd name="connsiteY2" fmla="*/ 979055 h 1469719"/>
                      <a:gd name="connsiteX3" fmla="*/ 1348509 w 4350328"/>
                      <a:gd name="connsiteY3" fmla="*/ 1219200 h 1469719"/>
                      <a:gd name="connsiteX4" fmla="*/ 1902691 w 4350328"/>
                      <a:gd name="connsiteY4" fmla="*/ 1431637 h 1469719"/>
                      <a:gd name="connsiteX5" fmla="*/ 3084946 w 4350328"/>
                      <a:gd name="connsiteY5" fmla="*/ 988291 h 1469719"/>
                      <a:gd name="connsiteX6" fmla="*/ 4184073 w 4350328"/>
                      <a:gd name="connsiteY6" fmla="*/ 988291 h 1469719"/>
                      <a:gd name="connsiteX7" fmla="*/ 4350328 w 4350328"/>
                      <a:gd name="connsiteY7" fmla="*/ 249382 h 14697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350328" h="1469719">
                        <a:moveTo>
                          <a:pt x="0" y="0"/>
                        </a:moveTo>
                        <a:cubicBezTo>
                          <a:pt x="129309" y="140085"/>
                          <a:pt x="-132387" y="398703"/>
                          <a:pt x="193964" y="572655"/>
                        </a:cubicBezTo>
                        <a:cubicBezTo>
                          <a:pt x="329431" y="735831"/>
                          <a:pt x="703503" y="686571"/>
                          <a:pt x="812800" y="979055"/>
                        </a:cubicBezTo>
                        <a:cubicBezTo>
                          <a:pt x="1005224" y="1086813"/>
                          <a:pt x="1166861" y="1143770"/>
                          <a:pt x="1348509" y="1219200"/>
                        </a:cubicBezTo>
                        <a:cubicBezTo>
                          <a:pt x="1536315" y="1317721"/>
                          <a:pt x="1613285" y="1470122"/>
                          <a:pt x="1902691" y="1431637"/>
                        </a:cubicBezTo>
                        <a:cubicBezTo>
                          <a:pt x="2416849" y="1596352"/>
                          <a:pt x="2677006" y="1185334"/>
                          <a:pt x="3084946" y="988291"/>
                        </a:cubicBezTo>
                        <a:cubicBezTo>
                          <a:pt x="3372813" y="872836"/>
                          <a:pt x="3973176" y="1111443"/>
                          <a:pt x="4184073" y="988291"/>
                        </a:cubicBezTo>
                        <a:cubicBezTo>
                          <a:pt x="4394970" y="865140"/>
                          <a:pt x="4230255" y="330970"/>
                          <a:pt x="4350328" y="249382"/>
                        </a:cubicBezTo>
                      </a:path>
                    </a:pathLst>
                  </a:custGeom>
                  <a:noFill/>
                  <a:ln w="1270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" name="Freihandform 2"/>
                  <p:cNvSpPr/>
                  <p:nvPr/>
                </p:nvSpPr>
                <p:spPr>
                  <a:xfrm>
                    <a:off x="4248727" y="2050473"/>
                    <a:ext cx="182258" cy="498763"/>
                  </a:xfrm>
                  <a:custGeom>
                    <a:avLst/>
                    <a:gdLst>
                      <a:gd name="connsiteX0" fmla="*/ 0 w 182258"/>
                      <a:gd name="connsiteY0" fmla="*/ 498763 h 498763"/>
                      <a:gd name="connsiteX1" fmla="*/ 175491 w 182258"/>
                      <a:gd name="connsiteY1" fmla="*/ 230909 h 498763"/>
                      <a:gd name="connsiteX2" fmla="*/ 129309 w 182258"/>
                      <a:gd name="connsiteY2" fmla="*/ 0 h 4987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82258" h="498763">
                        <a:moveTo>
                          <a:pt x="0" y="498763"/>
                        </a:moveTo>
                        <a:cubicBezTo>
                          <a:pt x="76970" y="406399"/>
                          <a:pt x="153940" y="314036"/>
                          <a:pt x="175491" y="230909"/>
                        </a:cubicBezTo>
                        <a:cubicBezTo>
                          <a:pt x="197042" y="147782"/>
                          <a:pt x="163175" y="73891"/>
                          <a:pt x="129309" y="0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4" name="Freihandform 3"/>
                  <p:cNvSpPr/>
                  <p:nvPr/>
                </p:nvSpPr>
                <p:spPr>
                  <a:xfrm>
                    <a:off x="4239491" y="1838036"/>
                    <a:ext cx="373098" cy="877455"/>
                  </a:xfrm>
                  <a:custGeom>
                    <a:avLst/>
                    <a:gdLst>
                      <a:gd name="connsiteX0" fmla="*/ 0 w 373098"/>
                      <a:gd name="connsiteY0" fmla="*/ 877455 h 877455"/>
                      <a:gd name="connsiteX1" fmla="*/ 369454 w 373098"/>
                      <a:gd name="connsiteY1" fmla="*/ 443346 h 877455"/>
                      <a:gd name="connsiteX2" fmla="*/ 157018 w 373098"/>
                      <a:gd name="connsiteY2" fmla="*/ 0 h 8774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73098" h="877455">
                        <a:moveTo>
                          <a:pt x="0" y="877455"/>
                        </a:moveTo>
                        <a:cubicBezTo>
                          <a:pt x="171642" y="733521"/>
                          <a:pt x="343284" y="589588"/>
                          <a:pt x="369454" y="443346"/>
                        </a:cubicBezTo>
                        <a:cubicBezTo>
                          <a:pt x="395624" y="297104"/>
                          <a:pt x="276321" y="148552"/>
                          <a:pt x="157018" y="0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" name="Freihandform 6"/>
                  <p:cNvSpPr/>
                  <p:nvPr/>
                </p:nvSpPr>
                <p:spPr>
                  <a:xfrm>
                    <a:off x="4184073" y="2822832"/>
                    <a:ext cx="238096" cy="262113"/>
                  </a:xfrm>
                  <a:custGeom>
                    <a:avLst/>
                    <a:gdLst>
                      <a:gd name="connsiteX0" fmla="*/ 0 w 238096"/>
                      <a:gd name="connsiteY0" fmla="*/ 58913 h 262113"/>
                      <a:gd name="connsiteX1" fmla="*/ 230909 w 238096"/>
                      <a:gd name="connsiteY1" fmla="*/ 12732 h 262113"/>
                      <a:gd name="connsiteX2" fmla="*/ 157018 w 238096"/>
                      <a:gd name="connsiteY2" fmla="*/ 262113 h 262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38096" h="262113">
                        <a:moveTo>
                          <a:pt x="0" y="58913"/>
                        </a:moveTo>
                        <a:cubicBezTo>
                          <a:pt x="102369" y="18889"/>
                          <a:pt x="204739" y="-21135"/>
                          <a:pt x="230909" y="12732"/>
                        </a:cubicBezTo>
                        <a:cubicBezTo>
                          <a:pt x="257079" y="46599"/>
                          <a:pt x="207048" y="154356"/>
                          <a:pt x="157018" y="262113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" name="Freihandform 7"/>
                  <p:cNvSpPr/>
                  <p:nvPr/>
                </p:nvSpPr>
                <p:spPr>
                  <a:xfrm>
                    <a:off x="4424218" y="1717964"/>
                    <a:ext cx="469151" cy="1330036"/>
                  </a:xfrm>
                  <a:custGeom>
                    <a:avLst/>
                    <a:gdLst>
                      <a:gd name="connsiteX0" fmla="*/ 0 w 469151"/>
                      <a:gd name="connsiteY0" fmla="*/ 0 h 1330036"/>
                      <a:gd name="connsiteX1" fmla="*/ 461818 w 469151"/>
                      <a:gd name="connsiteY1" fmla="*/ 618836 h 1330036"/>
                      <a:gd name="connsiteX2" fmla="*/ 240146 w 469151"/>
                      <a:gd name="connsiteY2" fmla="*/ 1330036 h 13300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69151" h="1330036">
                        <a:moveTo>
                          <a:pt x="0" y="0"/>
                        </a:moveTo>
                        <a:cubicBezTo>
                          <a:pt x="210897" y="198581"/>
                          <a:pt x="421794" y="397163"/>
                          <a:pt x="461818" y="618836"/>
                        </a:cubicBezTo>
                        <a:cubicBezTo>
                          <a:pt x="501842" y="840509"/>
                          <a:pt x="370994" y="1085272"/>
                          <a:pt x="240146" y="1330036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9" name="Freihandform 8"/>
                  <p:cNvSpPr/>
                  <p:nvPr/>
                </p:nvSpPr>
                <p:spPr>
                  <a:xfrm>
                    <a:off x="4470400" y="1477818"/>
                    <a:ext cx="799827" cy="1514764"/>
                  </a:xfrm>
                  <a:custGeom>
                    <a:avLst/>
                    <a:gdLst>
                      <a:gd name="connsiteX0" fmla="*/ 0 w 799827"/>
                      <a:gd name="connsiteY0" fmla="*/ 0 h 1514764"/>
                      <a:gd name="connsiteX1" fmla="*/ 757382 w 799827"/>
                      <a:gd name="connsiteY1" fmla="*/ 775855 h 1514764"/>
                      <a:gd name="connsiteX2" fmla="*/ 637309 w 799827"/>
                      <a:gd name="connsiteY2" fmla="*/ 1514764 h 15147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99827" h="1514764">
                        <a:moveTo>
                          <a:pt x="0" y="0"/>
                        </a:moveTo>
                        <a:cubicBezTo>
                          <a:pt x="325582" y="261697"/>
                          <a:pt x="651164" y="523394"/>
                          <a:pt x="757382" y="775855"/>
                        </a:cubicBezTo>
                        <a:cubicBezTo>
                          <a:pt x="863600" y="1028316"/>
                          <a:pt x="750454" y="1271540"/>
                          <a:pt x="637309" y="1514764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1" name="Freihandform 10"/>
                  <p:cNvSpPr/>
                  <p:nvPr/>
                </p:nvSpPr>
                <p:spPr>
                  <a:xfrm>
                    <a:off x="4155072" y="1459345"/>
                    <a:ext cx="65946" cy="1283855"/>
                  </a:xfrm>
                  <a:custGeom>
                    <a:avLst/>
                    <a:gdLst>
                      <a:gd name="connsiteX0" fmla="*/ 65946 w 65946"/>
                      <a:gd name="connsiteY0" fmla="*/ 1283855 h 1283855"/>
                      <a:gd name="connsiteX1" fmla="*/ 1292 w 65946"/>
                      <a:gd name="connsiteY1" fmla="*/ 822037 h 1283855"/>
                      <a:gd name="connsiteX2" fmla="*/ 29001 w 65946"/>
                      <a:gd name="connsiteY2" fmla="*/ 0 h 12838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946" h="1283855">
                        <a:moveTo>
                          <a:pt x="65946" y="1283855"/>
                        </a:moveTo>
                        <a:cubicBezTo>
                          <a:pt x="36697" y="1159934"/>
                          <a:pt x="7449" y="1036013"/>
                          <a:pt x="1292" y="822037"/>
                        </a:cubicBezTo>
                        <a:cubicBezTo>
                          <a:pt x="-4865" y="608061"/>
                          <a:pt x="12068" y="304030"/>
                          <a:pt x="29001" y="0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2" name="Freihandform 11"/>
                  <p:cNvSpPr/>
                  <p:nvPr/>
                </p:nvSpPr>
                <p:spPr>
                  <a:xfrm>
                    <a:off x="4236472" y="1450109"/>
                    <a:ext cx="58437" cy="960582"/>
                  </a:xfrm>
                  <a:custGeom>
                    <a:avLst/>
                    <a:gdLst>
                      <a:gd name="connsiteX0" fmla="*/ 58437 w 58437"/>
                      <a:gd name="connsiteY0" fmla="*/ 960582 h 960582"/>
                      <a:gd name="connsiteX1" fmla="*/ 3019 w 58437"/>
                      <a:gd name="connsiteY1" fmla="*/ 618836 h 960582"/>
                      <a:gd name="connsiteX2" fmla="*/ 12255 w 58437"/>
                      <a:gd name="connsiteY2" fmla="*/ 0 h 960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437" h="960582">
                        <a:moveTo>
                          <a:pt x="58437" y="960582"/>
                        </a:moveTo>
                        <a:cubicBezTo>
                          <a:pt x="34576" y="869757"/>
                          <a:pt x="10716" y="778933"/>
                          <a:pt x="3019" y="618836"/>
                        </a:cubicBezTo>
                        <a:cubicBezTo>
                          <a:pt x="-4678" y="458739"/>
                          <a:pt x="3788" y="229369"/>
                          <a:pt x="12255" y="0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4" name="Freihandform 13"/>
                  <p:cNvSpPr/>
                  <p:nvPr/>
                </p:nvSpPr>
                <p:spPr>
                  <a:xfrm>
                    <a:off x="4301126" y="1413164"/>
                    <a:ext cx="58438" cy="618836"/>
                  </a:xfrm>
                  <a:custGeom>
                    <a:avLst/>
                    <a:gdLst>
                      <a:gd name="connsiteX0" fmla="*/ 58438 w 58438"/>
                      <a:gd name="connsiteY0" fmla="*/ 618836 h 618836"/>
                      <a:gd name="connsiteX1" fmla="*/ 3019 w 58438"/>
                      <a:gd name="connsiteY1" fmla="*/ 369454 h 618836"/>
                      <a:gd name="connsiteX2" fmla="*/ 12256 w 58438"/>
                      <a:gd name="connsiteY2" fmla="*/ 0 h 6188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438" h="618836">
                        <a:moveTo>
                          <a:pt x="58438" y="618836"/>
                        </a:moveTo>
                        <a:cubicBezTo>
                          <a:pt x="34577" y="545714"/>
                          <a:pt x="10716" y="472593"/>
                          <a:pt x="3019" y="369454"/>
                        </a:cubicBezTo>
                        <a:cubicBezTo>
                          <a:pt x="-4678" y="266315"/>
                          <a:pt x="3789" y="133157"/>
                          <a:pt x="12256" y="0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5" name="Freihandform 14"/>
                  <p:cNvSpPr/>
                  <p:nvPr/>
                </p:nvSpPr>
                <p:spPr>
                  <a:xfrm>
                    <a:off x="3887924" y="2992582"/>
                    <a:ext cx="508585" cy="287220"/>
                  </a:xfrm>
                  <a:custGeom>
                    <a:avLst/>
                    <a:gdLst>
                      <a:gd name="connsiteX0" fmla="*/ 0 w 360218"/>
                      <a:gd name="connsiteY0" fmla="*/ 0 h 231802"/>
                      <a:gd name="connsiteX1" fmla="*/ 101600 w 360218"/>
                      <a:gd name="connsiteY1" fmla="*/ 230909 h 231802"/>
                      <a:gd name="connsiteX2" fmla="*/ 360218 w 360218"/>
                      <a:gd name="connsiteY2" fmla="*/ 64655 h 2318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60218" h="231802">
                        <a:moveTo>
                          <a:pt x="0" y="0"/>
                        </a:moveTo>
                        <a:cubicBezTo>
                          <a:pt x="20782" y="110066"/>
                          <a:pt x="41564" y="220133"/>
                          <a:pt x="101600" y="230909"/>
                        </a:cubicBezTo>
                        <a:cubicBezTo>
                          <a:pt x="161636" y="241685"/>
                          <a:pt x="260927" y="153170"/>
                          <a:pt x="360218" y="64655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6" name="Freihandform 15"/>
                  <p:cNvSpPr/>
                  <p:nvPr/>
                </p:nvSpPr>
                <p:spPr>
                  <a:xfrm>
                    <a:off x="3454400" y="2854036"/>
                    <a:ext cx="1246909" cy="516342"/>
                  </a:xfrm>
                  <a:custGeom>
                    <a:avLst/>
                    <a:gdLst>
                      <a:gd name="connsiteX0" fmla="*/ 0 w 1246909"/>
                      <a:gd name="connsiteY0" fmla="*/ 0 h 516342"/>
                      <a:gd name="connsiteX1" fmla="*/ 434109 w 1246909"/>
                      <a:gd name="connsiteY1" fmla="*/ 508000 h 516342"/>
                      <a:gd name="connsiteX2" fmla="*/ 1246909 w 1246909"/>
                      <a:gd name="connsiteY2" fmla="*/ 267855 h 5163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246909" h="516342">
                        <a:moveTo>
                          <a:pt x="0" y="0"/>
                        </a:moveTo>
                        <a:cubicBezTo>
                          <a:pt x="113145" y="231678"/>
                          <a:pt x="226291" y="463357"/>
                          <a:pt x="434109" y="508000"/>
                        </a:cubicBezTo>
                        <a:cubicBezTo>
                          <a:pt x="641927" y="552643"/>
                          <a:pt x="944418" y="410249"/>
                          <a:pt x="1246909" y="267855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7" name="Freihandform 16"/>
                  <p:cNvSpPr/>
                  <p:nvPr/>
                </p:nvSpPr>
                <p:spPr>
                  <a:xfrm>
                    <a:off x="3057236" y="2844800"/>
                    <a:ext cx="2697019" cy="780626"/>
                  </a:xfrm>
                  <a:custGeom>
                    <a:avLst/>
                    <a:gdLst>
                      <a:gd name="connsiteX0" fmla="*/ 0 w 2697019"/>
                      <a:gd name="connsiteY0" fmla="*/ 0 h 780626"/>
                      <a:gd name="connsiteX1" fmla="*/ 877455 w 2697019"/>
                      <a:gd name="connsiteY1" fmla="*/ 775855 h 780626"/>
                      <a:gd name="connsiteX2" fmla="*/ 2697019 w 2697019"/>
                      <a:gd name="connsiteY2" fmla="*/ 267855 h 7806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697019" h="780626">
                        <a:moveTo>
                          <a:pt x="0" y="0"/>
                        </a:moveTo>
                        <a:cubicBezTo>
                          <a:pt x="213976" y="365606"/>
                          <a:pt x="427952" y="731213"/>
                          <a:pt x="877455" y="775855"/>
                        </a:cubicBezTo>
                        <a:cubicBezTo>
                          <a:pt x="1326958" y="820498"/>
                          <a:pt x="2011988" y="544176"/>
                          <a:pt x="2697019" y="267855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37" name="Textfeld 36"/>
                  <p:cNvSpPr txBox="1"/>
                  <p:nvPr/>
                </p:nvSpPr>
                <p:spPr>
                  <a:xfrm>
                    <a:off x="2054620" y="2992582"/>
                    <a:ext cx="1468384" cy="246221"/>
                  </a:xfrm>
                  <a:prstGeom prst="rect">
                    <a:avLst/>
                  </a:prstGeom>
                  <a:noFill/>
                  <a:ln w="1270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Work piece</a:t>
                    </a:r>
                    <a:endPara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8" name="Freihandform 17"/>
                  <p:cNvSpPr/>
                  <p:nvPr/>
                </p:nvSpPr>
                <p:spPr>
                  <a:xfrm>
                    <a:off x="3771963" y="2438401"/>
                    <a:ext cx="45719" cy="449600"/>
                  </a:xfrm>
                  <a:custGeom>
                    <a:avLst/>
                    <a:gdLst>
                      <a:gd name="connsiteX0" fmla="*/ 24181 w 34236"/>
                      <a:gd name="connsiteY0" fmla="*/ 0 h 490087"/>
                      <a:gd name="connsiteX1" fmla="*/ 33418 w 34236"/>
                      <a:gd name="connsiteY1" fmla="*/ 286327 h 490087"/>
                      <a:gd name="connsiteX2" fmla="*/ 5709 w 34236"/>
                      <a:gd name="connsiteY2" fmla="*/ 471055 h 490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4236" h="490087">
                        <a:moveTo>
                          <a:pt x="24181" y="0"/>
                        </a:moveTo>
                        <a:cubicBezTo>
                          <a:pt x="30339" y="103909"/>
                          <a:pt x="36497" y="207818"/>
                          <a:pt x="33418" y="286327"/>
                        </a:cubicBezTo>
                        <a:cubicBezTo>
                          <a:pt x="30339" y="364836"/>
                          <a:pt x="-15843" y="549564"/>
                          <a:pt x="5709" y="471055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9" name="Freihandform 18"/>
                  <p:cNvSpPr/>
                  <p:nvPr/>
                </p:nvSpPr>
                <p:spPr>
                  <a:xfrm>
                    <a:off x="3860800" y="2170545"/>
                    <a:ext cx="38440" cy="785091"/>
                  </a:xfrm>
                  <a:custGeom>
                    <a:avLst/>
                    <a:gdLst>
                      <a:gd name="connsiteX0" fmla="*/ 0 w 38440"/>
                      <a:gd name="connsiteY0" fmla="*/ 0 h 785091"/>
                      <a:gd name="connsiteX1" fmla="*/ 36945 w 38440"/>
                      <a:gd name="connsiteY1" fmla="*/ 480291 h 785091"/>
                      <a:gd name="connsiteX2" fmla="*/ 27709 w 38440"/>
                      <a:gd name="connsiteY2" fmla="*/ 785091 h 785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8440" h="785091">
                        <a:moveTo>
                          <a:pt x="0" y="0"/>
                        </a:moveTo>
                        <a:cubicBezTo>
                          <a:pt x="16163" y="174721"/>
                          <a:pt x="32327" y="349443"/>
                          <a:pt x="36945" y="480291"/>
                        </a:cubicBezTo>
                        <a:cubicBezTo>
                          <a:pt x="41563" y="611139"/>
                          <a:pt x="34636" y="698115"/>
                          <a:pt x="27709" y="785091"/>
                        </a:cubicBezTo>
                      </a:path>
                    </a:pathLst>
                  </a:custGeom>
                  <a:noFill/>
                  <a:ln w="1270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cxnSp>
              <p:nvCxnSpPr>
                <p:cNvPr id="22" name="Gerade Verbindung mit Pfeil 21"/>
                <p:cNvCxnSpPr/>
                <p:nvPr/>
              </p:nvCxnSpPr>
              <p:spPr>
                <a:xfrm flipV="1">
                  <a:off x="4554479" y="2168314"/>
                  <a:ext cx="1030350" cy="380922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Gerade Verbindung mit Pfeil 42"/>
                <p:cNvCxnSpPr/>
                <p:nvPr/>
              </p:nvCxnSpPr>
              <p:spPr>
                <a:xfrm flipV="1">
                  <a:off x="4556718" y="1838036"/>
                  <a:ext cx="627190" cy="378692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Gerade Verbindung mit Pfeil 44"/>
                <p:cNvCxnSpPr/>
                <p:nvPr/>
              </p:nvCxnSpPr>
              <p:spPr>
                <a:xfrm>
                  <a:off x="4715076" y="2718319"/>
                  <a:ext cx="739492" cy="49761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 Verbindung mit Pfeil 49"/>
                <p:cNvCxnSpPr/>
                <p:nvPr/>
              </p:nvCxnSpPr>
              <p:spPr>
                <a:xfrm flipH="1">
                  <a:off x="3635896" y="3177248"/>
                  <a:ext cx="441958" cy="611792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Gerade Verbindung mit Pfeil 53"/>
                <p:cNvCxnSpPr/>
                <p:nvPr/>
              </p:nvCxnSpPr>
              <p:spPr>
                <a:xfrm>
                  <a:off x="4330619" y="3181262"/>
                  <a:ext cx="200731" cy="611792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Gerade Verbindung mit Pfeil 55"/>
                <p:cNvCxnSpPr/>
                <p:nvPr/>
              </p:nvCxnSpPr>
              <p:spPr>
                <a:xfrm flipH="1">
                  <a:off x="3131840" y="2988122"/>
                  <a:ext cx="603076" cy="382256"/>
                </a:xfrm>
                <a:prstGeom prst="straightConnector1">
                  <a:avLst/>
                </a:prstGeom>
                <a:ln w="12700">
                  <a:solidFill>
                    <a:srgbClr val="C00000"/>
                  </a:solidFill>
                  <a:prstDash val="sysDot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2" name="Textfeld 61"/>
              <p:cNvSpPr txBox="1"/>
              <p:nvPr/>
            </p:nvSpPr>
            <p:spPr>
              <a:xfrm>
                <a:off x="2998347" y="2453800"/>
                <a:ext cx="773616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ear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4" name="Textfeld 63"/>
              <p:cNvSpPr txBox="1"/>
              <p:nvPr/>
            </p:nvSpPr>
            <p:spPr>
              <a:xfrm>
                <a:off x="4104924" y="2438401"/>
                <a:ext cx="773616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ict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1" name="Textfeld 50"/>
            <p:cNvSpPr txBox="1"/>
            <p:nvPr/>
          </p:nvSpPr>
          <p:spPr>
            <a:xfrm>
              <a:off x="1674827" y="1983732"/>
              <a:ext cx="773616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 algn="ctr">
                <a:defRPr sz="1000">
                  <a:latin typeface="Times New Roman" panose="02020603050405020304" pitchFamily="18" charset="0"/>
                  <a:cs typeface="Times New Roman" panose="02020603050405020304" pitchFamily="18" charset="0"/>
                </a:defRPr>
              </a:lvl1pPr>
            </a:lstStyle>
            <a:p>
              <a:r>
                <a:rPr lang="en-US" dirty="0" err="1"/>
                <a:t>q</a:t>
              </a:r>
              <a:r>
                <a:rPr lang="en-US" baseline="-25000" dirty="0" err="1"/>
                <a:t>rubb</a:t>
              </a:r>
              <a:endParaRPr lang="en-US" baseline="-25000" dirty="0"/>
            </a:p>
          </p:txBody>
        </p:sp>
      </p:grpSp>
      <p:sp>
        <p:nvSpPr>
          <p:cNvPr id="55" name="Rechteck 54"/>
          <p:cNvSpPr/>
          <p:nvPr/>
        </p:nvSpPr>
        <p:spPr>
          <a:xfrm>
            <a:off x="326173" y="171708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feld 87"/>
          <p:cNvSpPr txBox="1"/>
          <p:nvPr/>
        </p:nvSpPr>
        <p:spPr>
          <a:xfrm>
            <a:off x="4756421" y="502902"/>
            <a:ext cx="457720" cy="96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ip</a:t>
            </a:r>
            <a:endParaRPr lang="en-US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414250" y="173118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4" name="Gruppieren 253"/>
          <p:cNvGrpSpPr/>
          <p:nvPr/>
        </p:nvGrpSpPr>
        <p:grpSpPr>
          <a:xfrm>
            <a:off x="3414250" y="614839"/>
            <a:ext cx="2933270" cy="1535864"/>
            <a:chOff x="3414250" y="614839"/>
            <a:chExt cx="2933270" cy="1535864"/>
          </a:xfrm>
        </p:grpSpPr>
        <p:cxnSp>
          <p:nvCxnSpPr>
            <p:cNvPr id="59" name="Gerade Verbindung 58"/>
            <p:cNvCxnSpPr/>
            <p:nvPr/>
          </p:nvCxnSpPr>
          <p:spPr>
            <a:xfrm flipH="1">
              <a:off x="5142461" y="614839"/>
              <a:ext cx="83784" cy="10264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Gerade Verbindung 59"/>
            <p:cNvCxnSpPr/>
            <p:nvPr/>
          </p:nvCxnSpPr>
          <p:spPr>
            <a:xfrm flipH="1">
              <a:off x="5153777" y="709912"/>
              <a:ext cx="52584" cy="68454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Gerade Verbindung 64"/>
            <p:cNvCxnSpPr/>
            <p:nvPr/>
          </p:nvCxnSpPr>
          <p:spPr>
            <a:xfrm flipH="1">
              <a:off x="5153777" y="807521"/>
              <a:ext cx="33406" cy="3811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 flipH="1">
              <a:off x="5355531" y="1916772"/>
              <a:ext cx="19343" cy="24001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 flipH="1">
              <a:off x="5412459" y="1907972"/>
              <a:ext cx="27112" cy="3280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0" name="Gerade Verbindung 69"/>
            <p:cNvCxnSpPr/>
            <p:nvPr/>
          </p:nvCxnSpPr>
          <p:spPr>
            <a:xfrm flipH="1">
              <a:off x="5541853" y="1893891"/>
              <a:ext cx="36760" cy="4688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1" name="Gerade Verbindung 70"/>
            <p:cNvCxnSpPr/>
            <p:nvPr/>
          </p:nvCxnSpPr>
          <p:spPr>
            <a:xfrm flipH="1">
              <a:off x="5616198" y="1885090"/>
              <a:ext cx="48286" cy="55683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Gerade Verbindung 72"/>
            <p:cNvCxnSpPr/>
            <p:nvPr/>
          </p:nvCxnSpPr>
          <p:spPr>
            <a:xfrm flipH="1">
              <a:off x="5702069" y="1874530"/>
              <a:ext cx="54176" cy="66243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4" name="Gerade Verbindung 73"/>
            <p:cNvCxnSpPr/>
            <p:nvPr/>
          </p:nvCxnSpPr>
          <p:spPr>
            <a:xfrm flipH="1">
              <a:off x="5793830" y="1863969"/>
              <a:ext cx="61945" cy="76804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5" name="Gerade Verbindung 74"/>
            <p:cNvCxnSpPr/>
            <p:nvPr/>
          </p:nvCxnSpPr>
          <p:spPr>
            <a:xfrm flipH="1">
              <a:off x="5893360" y="1856289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6" name="Gerade Verbindung 75"/>
            <p:cNvCxnSpPr/>
            <p:nvPr/>
          </p:nvCxnSpPr>
          <p:spPr>
            <a:xfrm flipH="1">
              <a:off x="5994845" y="1844608"/>
              <a:ext cx="73727" cy="9616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7" name="Gerade Verbindung 76"/>
            <p:cNvCxnSpPr/>
            <p:nvPr/>
          </p:nvCxnSpPr>
          <p:spPr>
            <a:xfrm flipH="1">
              <a:off x="6106155" y="1839328"/>
              <a:ext cx="72104" cy="10144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8" name="Freihandform 77"/>
            <p:cNvSpPr/>
            <p:nvPr/>
          </p:nvSpPr>
          <p:spPr>
            <a:xfrm>
              <a:off x="4778683" y="634039"/>
              <a:ext cx="375050" cy="1158360"/>
            </a:xfrm>
            <a:custGeom>
              <a:avLst/>
              <a:gdLst>
                <a:gd name="connsiteX0" fmla="*/ 0 w 1080654"/>
                <a:gd name="connsiteY0" fmla="*/ 1893454 h 2068568"/>
                <a:gd name="connsiteX1" fmla="*/ 794327 w 1080654"/>
                <a:gd name="connsiteY1" fmla="*/ 1884218 h 2068568"/>
                <a:gd name="connsiteX2" fmla="*/ 1080654 w 1080654"/>
                <a:gd name="connsiteY2" fmla="*/ 0 h 2068568"/>
                <a:gd name="connsiteX0" fmla="*/ 0 w 286327"/>
                <a:gd name="connsiteY0" fmla="*/ 1884218 h 1884218"/>
                <a:gd name="connsiteX1" fmla="*/ 286327 w 286327"/>
                <a:gd name="connsiteY1" fmla="*/ 0 h 1884218"/>
                <a:gd name="connsiteX0" fmla="*/ 0 w 563418"/>
                <a:gd name="connsiteY0" fmla="*/ 2087418 h 2087418"/>
                <a:gd name="connsiteX1" fmla="*/ 563418 w 563418"/>
                <a:gd name="connsiteY1" fmla="*/ 0 h 2087418"/>
                <a:gd name="connsiteX0" fmla="*/ 0 w 563418"/>
                <a:gd name="connsiteY0" fmla="*/ 2087418 h 2089517"/>
                <a:gd name="connsiteX1" fmla="*/ 563418 w 563418"/>
                <a:gd name="connsiteY1" fmla="*/ 0 h 2089517"/>
                <a:gd name="connsiteX0" fmla="*/ 0 w 633890"/>
                <a:gd name="connsiteY0" fmla="*/ 2087418 h 2089538"/>
                <a:gd name="connsiteX1" fmla="*/ 563418 w 633890"/>
                <a:gd name="connsiteY1" fmla="*/ 0 h 208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3890" h="2089538">
                  <a:moveTo>
                    <a:pt x="0" y="2087418"/>
                  </a:moveTo>
                  <a:cubicBezTo>
                    <a:pt x="484909" y="2159769"/>
                    <a:pt x="775854" y="358679"/>
                    <a:pt x="563418" y="0"/>
                  </a:cubicBezTo>
                </a:path>
              </a:pathLst>
            </a:cu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9" name="Rechteck 78"/>
            <p:cNvSpPr/>
            <p:nvPr/>
          </p:nvSpPr>
          <p:spPr>
            <a:xfrm>
              <a:off x="4746666" y="1072904"/>
              <a:ext cx="553302" cy="107779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0" name="Gerade Verbindung 79"/>
            <p:cNvCxnSpPr/>
            <p:nvPr/>
          </p:nvCxnSpPr>
          <p:spPr>
            <a:xfrm flipH="1">
              <a:off x="4970617" y="634040"/>
              <a:ext cx="255627" cy="131731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1" name="Gerade Verbindung 80"/>
            <p:cNvCxnSpPr/>
            <p:nvPr/>
          </p:nvCxnSpPr>
          <p:spPr>
            <a:xfrm flipH="1">
              <a:off x="4970617" y="1831595"/>
              <a:ext cx="1278135" cy="11975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2" name="Gerade Verbindung 27"/>
            <p:cNvCxnSpPr/>
            <p:nvPr/>
          </p:nvCxnSpPr>
          <p:spPr>
            <a:xfrm rot="16200000" flipH="1">
              <a:off x="5138721" y="721563"/>
              <a:ext cx="1197555" cy="1022508"/>
            </a:xfrm>
            <a:prstGeom prst="curved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3" name="Gruppieren 82"/>
            <p:cNvGrpSpPr/>
            <p:nvPr/>
          </p:nvGrpSpPr>
          <p:grpSpPr>
            <a:xfrm>
              <a:off x="3721933" y="653795"/>
              <a:ext cx="1109334" cy="1158361"/>
              <a:chOff x="2069203" y="740761"/>
              <a:chExt cx="1874940" cy="2089540"/>
            </a:xfrm>
          </p:grpSpPr>
          <p:sp>
            <p:nvSpPr>
              <p:cNvPr id="136" name="Freihandform 135"/>
              <p:cNvSpPr/>
              <p:nvPr/>
            </p:nvSpPr>
            <p:spPr>
              <a:xfrm>
                <a:off x="3544247" y="740761"/>
                <a:ext cx="399896" cy="2059735"/>
              </a:xfrm>
              <a:custGeom>
                <a:avLst/>
                <a:gdLst>
                  <a:gd name="connsiteX0" fmla="*/ 0 w 1080654"/>
                  <a:gd name="connsiteY0" fmla="*/ 1893454 h 2068568"/>
                  <a:gd name="connsiteX1" fmla="*/ 794327 w 1080654"/>
                  <a:gd name="connsiteY1" fmla="*/ 1884218 h 2068568"/>
                  <a:gd name="connsiteX2" fmla="*/ 1080654 w 1080654"/>
                  <a:gd name="connsiteY2" fmla="*/ 0 h 2068568"/>
                  <a:gd name="connsiteX0" fmla="*/ 0 w 286327"/>
                  <a:gd name="connsiteY0" fmla="*/ 1884218 h 1884218"/>
                  <a:gd name="connsiteX1" fmla="*/ 286327 w 286327"/>
                  <a:gd name="connsiteY1" fmla="*/ 0 h 1884218"/>
                  <a:gd name="connsiteX0" fmla="*/ 0 w 563418"/>
                  <a:gd name="connsiteY0" fmla="*/ 2087418 h 2087418"/>
                  <a:gd name="connsiteX1" fmla="*/ 563418 w 563418"/>
                  <a:gd name="connsiteY1" fmla="*/ 0 h 2087418"/>
                  <a:gd name="connsiteX0" fmla="*/ 0 w 563418"/>
                  <a:gd name="connsiteY0" fmla="*/ 2087418 h 2089517"/>
                  <a:gd name="connsiteX1" fmla="*/ 563418 w 563418"/>
                  <a:gd name="connsiteY1" fmla="*/ 0 h 2089517"/>
                  <a:gd name="connsiteX0" fmla="*/ 0 w 633890"/>
                  <a:gd name="connsiteY0" fmla="*/ 2087418 h 2089538"/>
                  <a:gd name="connsiteX1" fmla="*/ 563418 w 633890"/>
                  <a:gd name="connsiteY1" fmla="*/ 0 h 2089538"/>
                  <a:gd name="connsiteX0" fmla="*/ 0 w 496850"/>
                  <a:gd name="connsiteY0" fmla="*/ 2068946 h 2071087"/>
                  <a:gd name="connsiteX1" fmla="*/ 397163 w 496850"/>
                  <a:gd name="connsiteY1" fmla="*/ 0 h 2071087"/>
                  <a:gd name="connsiteX0" fmla="*/ 0 w 429571"/>
                  <a:gd name="connsiteY0" fmla="*/ 2059710 h 2061862"/>
                  <a:gd name="connsiteX1" fmla="*/ 304799 w 429571"/>
                  <a:gd name="connsiteY1" fmla="*/ 0 h 2061862"/>
                  <a:gd name="connsiteX0" fmla="*/ 0 w 429571"/>
                  <a:gd name="connsiteY0" fmla="*/ 2059710 h 2059710"/>
                  <a:gd name="connsiteX1" fmla="*/ 304799 w 429571"/>
                  <a:gd name="connsiteY1" fmla="*/ 0 h 2059710"/>
                  <a:gd name="connsiteX0" fmla="*/ 0 w 429571"/>
                  <a:gd name="connsiteY0" fmla="*/ 2059710 h 2059710"/>
                  <a:gd name="connsiteX1" fmla="*/ 304799 w 429571"/>
                  <a:gd name="connsiteY1" fmla="*/ 0 h 2059710"/>
                  <a:gd name="connsiteX0" fmla="*/ 0 w 399896"/>
                  <a:gd name="connsiteY0" fmla="*/ 2059710 h 2059735"/>
                  <a:gd name="connsiteX1" fmla="*/ 304799 w 399896"/>
                  <a:gd name="connsiteY1" fmla="*/ 0 h 2059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9896" h="2059735">
                    <a:moveTo>
                      <a:pt x="0" y="2059710"/>
                    </a:moveTo>
                    <a:cubicBezTo>
                      <a:pt x="355599" y="2067407"/>
                      <a:pt x="517235" y="358679"/>
                      <a:pt x="304799" y="0"/>
                    </a:cubicBezTo>
                  </a:path>
                </a:pathLst>
              </a:cu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37" name="Gerade Verbindung 136"/>
              <p:cNvCxnSpPr>
                <a:endCxn id="136" idx="0"/>
              </p:cNvCxnSpPr>
              <p:nvPr/>
            </p:nvCxnSpPr>
            <p:spPr>
              <a:xfrm flipV="1">
                <a:off x="2069203" y="2800471"/>
                <a:ext cx="1475044" cy="29830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84" name="Gerade Verbindung 83"/>
            <p:cNvCxnSpPr/>
            <p:nvPr/>
          </p:nvCxnSpPr>
          <p:spPr>
            <a:xfrm>
              <a:off x="4970617" y="1951350"/>
              <a:ext cx="1309810" cy="0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5" name="Gerade Verbindung 84"/>
            <p:cNvCxnSpPr/>
            <p:nvPr/>
          </p:nvCxnSpPr>
          <p:spPr>
            <a:xfrm>
              <a:off x="4650775" y="1786586"/>
              <a:ext cx="308913" cy="154524"/>
            </a:xfrm>
            <a:prstGeom prst="line">
              <a:avLst/>
            </a:prstGeom>
            <a:ln w="47625" cmpd="sng">
              <a:solidFill>
                <a:srgbClr val="C00000"/>
              </a:solidFill>
              <a:prstDash val="sysDot"/>
              <a:headEnd type="none" w="sm" len="sm"/>
              <a:tailEnd type="none" w="sm" len="sm"/>
            </a:ln>
            <a:effectLst>
              <a:glow>
                <a:schemeClr val="accent2">
                  <a:satMod val="175000"/>
                  <a:alpha val="40000"/>
                </a:schemeClr>
              </a:glow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feld 85"/>
            <p:cNvSpPr txBox="1"/>
            <p:nvPr/>
          </p:nvSpPr>
          <p:spPr>
            <a:xfrm>
              <a:off x="3515317" y="1285353"/>
              <a:ext cx="457720" cy="9624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ool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87" name="Gruppieren 86"/>
            <p:cNvGrpSpPr/>
            <p:nvPr/>
          </p:nvGrpSpPr>
          <p:grpSpPr>
            <a:xfrm>
              <a:off x="3414250" y="1448988"/>
              <a:ext cx="585534" cy="206812"/>
              <a:chOff x="4590472" y="2135647"/>
              <a:chExt cx="989640" cy="373064"/>
            </a:xfrm>
          </p:grpSpPr>
          <p:cxnSp>
            <p:nvCxnSpPr>
              <p:cNvPr id="134" name="Gerade Verbindung mit Pfeil 133"/>
              <p:cNvCxnSpPr/>
              <p:nvPr/>
            </p:nvCxnSpPr>
            <p:spPr>
              <a:xfrm flipH="1">
                <a:off x="4590472" y="2508711"/>
                <a:ext cx="98964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5" name="Textfeld 134"/>
              <p:cNvSpPr txBox="1"/>
              <p:nvPr/>
            </p:nvSpPr>
            <p:spPr>
              <a:xfrm>
                <a:off x="4698484" y="2135647"/>
                <a:ext cx="773615" cy="173605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89" name="Textfeld 88"/>
            <p:cNvSpPr txBox="1"/>
            <p:nvPr/>
          </p:nvSpPr>
          <p:spPr>
            <a:xfrm>
              <a:off x="3725873" y="1889571"/>
              <a:ext cx="868789" cy="9624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ork piece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90" name="Gerade Verbindung 89"/>
            <p:cNvCxnSpPr/>
            <p:nvPr/>
          </p:nvCxnSpPr>
          <p:spPr>
            <a:xfrm flipH="1">
              <a:off x="4724258" y="694438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 flipH="1">
              <a:off x="4746116" y="772820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 flipH="1">
              <a:off x="4761398" y="851202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3" name="Gerade Verbindung 92"/>
            <p:cNvCxnSpPr/>
            <p:nvPr/>
          </p:nvCxnSpPr>
          <p:spPr>
            <a:xfrm flipH="1">
              <a:off x="4762510" y="929584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Gerade Verbindung 93"/>
            <p:cNvCxnSpPr/>
            <p:nvPr/>
          </p:nvCxnSpPr>
          <p:spPr>
            <a:xfrm flipH="1">
              <a:off x="4767975" y="100796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Gerade Verbindung 94"/>
            <p:cNvCxnSpPr/>
            <p:nvPr/>
          </p:nvCxnSpPr>
          <p:spPr>
            <a:xfrm flipH="1">
              <a:off x="4766863" y="1086347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6" name="Gerade Verbindung 95"/>
            <p:cNvCxnSpPr/>
            <p:nvPr/>
          </p:nvCxnSpPr>
          <p:spPr>
            <a:xfrm flipH="1">
              <a:off x="4761398" y="1164729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7" name="Gerade Verbindung 96"/>
            <p:cNvCxnSpPr/>
            <p:nvPr/>
          </p:nvCxnSpPr>
          <p:spPr>
            <a:xfrm flipH="1">
              <a:off x="4755933" y="1243111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8" name="Gerade Verbindung 97"/>
            <p:cNvCxnSpPr/>
            <p:nvPr/>
          </p:nvCxnSpPr>
          <p:spPr>
            <a:xfrm flipH="1">
              <a:off x="4740652" y="1321492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9" name="Gerade Verbindung 98"/>
            <p:cNvCxnSpPr/>
            <p:nvPr/>
          </p:nvCxnSpPr>
          <p:spPr>
            <a:xfrm flipH="1">
              <a:off x="4729723" y="1395462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0" name="Gerade Verbindung 99"/>
            <p:cNvCxnSpPr/>
            <p:nvPr/>
          </p:nvCxnSpPr>
          <p:spPr>
            <a:xfrm flipH="1">
              <a:off x="4707864" y="1480221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1" name="Gerade Verbindung 100"/>
            <p:cNvCxnSpPr/>
            <p:nvPr/>
          </p:nvCxnSpPr>
          <p:spPr>
            <a:xfrm flipH="1">
              <a:off x="4698047" y="1551632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Gerade Verbindung 101"/>
            <p:cNvCxnSpPr/>
            <p:nvPr/>
          </p:nvCxnSpPr>
          <p:spPr>
            <a:xfrm flipH="1">
              <a:off x="4666921" y="1636117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3" name="Gerade Verbindung 102"/>
            <p:cNvCxnSpPr/>
            <p:nvPr/>
          </p:nvCxnSpPr>
          <p:spPr>
            <a:xfrm flipH="1">
              <a:off x="3766762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4" name="Gerade Verbindung 103"/>
            <p:cNvCxnSpPr/>
            <p:nvPr/>
          </p:nvCxnSpPr>
          <p:spPr>
            <a:xfrm flipH="1">
              <a:off x="3867948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5" name="Gerade Verbindung 104"/>
            <p:cNvCxnSpPr/>
            <p:nvPr/>
          </p:nvCxnSpPr>
          <p:spPr>
            <a:xfrm flipH="1">
              <a:off x="3969133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6" name="Gerade Verbindung 105"/>
            <p:cNvCxnSpPr/>
            <p:nvPr/>
          </p:nvCxnSpPr>
          <p:spPr>
            <a:xfrm flipH="1">
              <a:off x="4070319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7" name="Gerade Verbindung 106"/>
            <p:cNvCxnSpPr/>
            <p:nvPr/>
          </p:nvCxnSpPr>
          <p:spPr>
            <a:xfrm flipH="1">
              <a:off x="4171505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8" name="Gerade Verbindung 107"/>
            <p:cNvCxnSpPr/>
            <p:nvPr/>
          </p:nvCxnSpPr>
          <p:spPr>
            <a:xfrm flipH="1">
              <a:off x="4272690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9" name="Gerade Verbindung 108"/>
            <p:cNvCxnSpPr/>
            <p:nvPr/>
          </p:nvCxnSpPr>
          <p:spPr>
            <a:xfrm flipH="1">
              <a:off x="4373876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0" name="Gerade Verbindung 109"/>
            <p:cNvCxnSpPr/>
            <p:nvPr/>
          </p:nvCxnSpPr>
          <p:spPr>
            <a:xfrm flipH="1">
              <a:off x="4475062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1" name="Gerade Verbindung 110"/>
            <p:cNvCxnSpPr/>
            <p:nvPr/>
          </p:nvCxnSpPr>
          <p:spPr>
            <a:xfrm flipH="1">
              <a:off x="4576248" y="1714656"/>
              <a:ext cx="63900" cy="84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2" name="Gerade Verbindung 111"/>
            <p:cNvCxnSpPr/>
            <p:nvPr/>
          </p:nvCxnSpPr>
          <p:spPr>
            <a:xfrm flipH="1">
              <a:off x="4970617" y="1072904"/>
              <a:ext cx="171845" cy="878446"/>
            </a:xfrm>
            <a:prstGeom prst="line">
              <a:avLst/>
            </a:prstGeom>
            <a:ln w="47625" cmpd="sng">
              <a:solidFill>
                <a:srgbClr val="C00000"/>
              </a:solidFill>
              <a:prstDash val="sysDot"/>
              <a:headEnd type="none" w="sm" len="sm"/>
              <a:tailEnd type="none" w="sm" len="sm"/>
            </a:ln>
            <a:effectLst>
              <a:glow>
                <a:schemeClr val="accent2">
                  <a:satMod val="175000"/>
                  <a:alpha val="40000"/>
                </a:schemeClr>
              </a:glow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/>
          </p:nvCxnSpPr>
          <p:spPr>
            <a:xfrm flipH="1">
              <a:off x="4970643" y="1932929"/>
              <a:ext cx="187570" cy="22577"/>
            </a:xfrm>
            <a:prstGeom prst="line">
              <a:avLst/>
            </a:prstGeom>
            <a:ln w="47625" cmpd="sng">
              <a:solidFill>
                <a:srgbClr val="C00000"/>
              </a:solidFill>
              <a:prstDash val="sysDot"/>
              <a:headEnd type="none" w="sm" len="sm"/>
              <a:tailEnd type="none" w="sm" len="sm"/>
            </a:ln>
            <a:effectLst>
              <a:glow>
                <a:schemeClr val="accent2">
                  <a:satMod val="175000"/>
                  <a:alpha val="40000"/>
                </a:schemeClr>
              </a:glow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feld 113"/>
            <p:cNvSpPr txBox="1"/>
            <p:nvPr/>
          </p:nvSpPr>
          <p:spPr>
            <a:xfrm>
              <a:off x="5446343" y="806428"/>
              <a:ext cx="901177" cy="40011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diabatic Boundaries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5" name="Textfeld 114"/>
            <p:cNvSpPr txBox="1"/>
            <p:nvPr/>
          </p:nvSpPr>
          <p:spPr>
            <a:xfrm>
              <a:off x="3467200" y="929584"/>
              <a:ext cx="1348471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diabatic Boundaries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6" name="Gerade Verbindung 115"/>
            <p:cNvCxnSpPr>
              <a:stCxn id="114" idx="2"/>
            </p:cNvCxnSpPr>
            <p:nvPr/>
          </p:nvCxnSpPr>
          <p:spPr>
            <a:xfrm>
              <a:off x="5896932" y="1206538"/>
              <a:ext cx="234386" cy="695833"/>
            </a:xfrm>
            <a:prstGeom prst="line">
              <a:avLst/>
            </a:prstGeom>
            <a:ln w="12700"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>
              <a:stCxn id="114" idx="1"/>
            </p:cNvCxnSpPr>
            <p:nvPr/>
          </p:nvCxnSpPr>
          <p:spPr>
            <a:xfrm flipH="1" flipV="1">
              <a:off x="5180069" y="707647"/>
              <a:ext cx="266274" cy="298836"/>
            </a:xfrm>
            <a:prstGeom prst="line">
              <a:avLst/>
            </a:prstGeom>
            <a:ln w="12700"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>
              <a:stCxn id="115" idx="0"/>
            </p:cNvCxnSpPr>
            <p:nvPr/>
          </p:nvCxnSpPr>
          <p:spPr>
            <a:xfrm flipV="1">
              <a:off x="4141436" y="778924"/>
              <a:ext cx="509008" cy="150660"/>
            </a:xfrm>
            <a:prstGeom prst="line">
              <a:avLst/>
            </a:prstGeom>
            <a:ln w="12700"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>
              <a:stCxn id="115" idx="2"/>
            </p:cNvCxnSpPr>
            <p:nvPr/>
          </p:nvCxnSpPr>
          <p:spPr>
            <a:xfrm flipH="1">
              <a:off x="4046448" y="1175805"/>
              <a:ext cx="94988" cy="597378"/>
            </a:xfrm>
            <a:prstGeom prst="line">
              <a:avLst/>
            </a:prstGeom>
            <a:ln w="12700">
              <a:solidFill>
                <a:schemeClr val="tx1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hteck 119"/>
            <p:cNvSpPr/>
            <p:nvPr/>
          </p:nvSpPr>
          <p:spPr>
            <a:xfrm rot="20728297">
              <a:off x="5162299" y="1795880"/>
              <a:ext cx="367325" cy="36524"/>
            </a:xfrm>
            <a:prstGeom prst="rect">
              <a:avLst/>
            </a:prstGeom>
            <a:pattFill prst="ltVert">
              <a:fgClr>
                <a:srgbClr val="C00000"/>
              </a:fgClr>
              <a:bgClr>
                <a:schemeClr val="bg1"/>
              </a:bgClr>
            </a:patt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21" name="Gruppieren 120"/>
            <p:cNvGrpSpPr/>
            <p:nvPr/>
          </p:nvGrpSpPr>
          <p:grpSpPr>
            <a:xfrm rot="20812432">
              <a:off x="5168372" y="1809599"/>
              <a:ext cx="367382" cy="43481"/>
              <a:chOff x="6204477" y="5765792"/>
              <a:chExt cx="880652" cy="111242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6204477" y="5821413"/>
                <a:ext cx="880652" cy="0"/>
              </a:xfrm>
              <a:prstGeom prst="line">
                <a:avLst/>
              </a:prstGeom>
              <a:ln w="12700"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3" name="Ellipse 132"/>
              <p:cNvSpPr/>
              <p:nvPr/>
            </p:nvSpPr>
            <p:spPr>
              <a:xfrm>
                <a:off x="6589182" y="5765792"/>
                <a:ext cx="111242" cy="111242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122" name="Gerade Verbindung 121"/>
            <p:cNvCxnSpPr/>
            <p:nvPr/>
          </p:nvCxnSpPr>
          <p:spPr>
            <a:xfrm flipV="1">
              <a:off x="5324196" y="1263265"/>
              <a:ext cx="287103" cy="100469"/>
            </a:xfrm>
            <a:prstGeom prst="line">
              <a:avLst/>
            </a:prstGeom>
            <a:ln w="12700">
              <a:solidFill>
                <a:schemeClr val="accent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mit Pfeil 122"/>
            <p:cNvCxnSpPr/>
            <p:nvPr/>
          </p:nvCxnSpPr>
          <p:spPr>
            <a:xfrm flipV="1">
              <a:off x="5170480" y="1313499"/>
              <a:ext cx="297268" cy="55047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mit Pfeil 123"/>
            <p:cNvCxnSpPr/>
            <p:nvPr/>
          </p:nvCxnSpPr>
          <p:spPr>
            <a:xfrm flipH="1" flipV="1">
              <a:off x="5467748" y="1313499"/>
              <a:ext cx="63207" cy="47308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feld 124"/>
            <p:cNvSpPr txBox="1"/>
            <p:nvPr/>
          </p:nvSpPr>
          <p:spPr>
            <a:xfrm>
              <a:off x="5483424" y="1607524"/>
              <a:ext cx="704449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anel </a:t>
              </a:r>
              <a:r>
                <a:rPr lang="en-US" sz="10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lang="en-US" sz="1000" baseline="-250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j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6" name="Textfeld 125"/>
            <p:cNvSpPr txBox="1"/>
            <p:nvPr/>
          </p:nvSpPr>
          <p:spPr>
            <a:xfrm>
              <a:off x="5423688" y="1277681"/>
              <a:ext cx="624786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anel P</a:t>
              </a:r>
              <a:r>
                <a: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27" name="Gerade Verbindung mit Pfeil 126"/>
            <p:cNvCxnSpPr>
              <a:endCxn id="129" idx="0"/>
            </p:cNvCxnSpPr>
            <p:nvPr/>
          </p:nvCxnSpPr>
          <p:spPr>
            <a:xfrm flipH="1" flipV="1">
              <a:off x="5307446" y="1109031"/>
              <a:ext cx="157924" cy="20553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mit Pfeil 127"/>
            <p:cNvCxnSpPr/>
            <p:nvPr/>
          </p:nvCxnSpPr>
          <p:spPr>
            <a:xfrm flipV="1">
              <a:off x="5461505" y="1157870"/>
              <a:ext cx="182026" cy="15139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/>
            <p:cNvSpPr txBox="1"/>
            <p:nvPr/>
          </p:nvSpPr>
          <p:spPr>
            <a:xfrm>
              <a:off x="5170480" y="1109031"/>
              <a:ext cx="273932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</a:t>
              </a:r>
              <a:r>
                <a:rPr lang="en-US" sz="1000" baseline="-25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1" name="Gerade Verbindung 130"/>
            <p:cNvCxnSpPr/>
            <p:nvPr/>
          </p:nvCxnSpPr>
          <p:spPr>
            <a:xfrm flipH="1">
              <a:off x="5477156" y="1911748"/>
              <a:ext cx="27112" cy="3280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2" name="Rechteck 201"/>
          <p:cNvSpPr/>
          <p:nvPr/>
        </p:nvSpPr>
        <p:spPr>
          <a:xfrm>
            <a:off x="6444208" y="183111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55" name="Gruppieren 254"/>
          <p:cNvGrpSpPr/>
          <p:nvPr/>
        </p:nvGrpSpPr>
        <p:grpSpPr>
          <a:xfrm>
            <a:off x="6601368" y="381544"/>
            <a:ext cx="2669842" cy="3407496"/>
            <a:chOff x="6601368" y="381544"/>
            <a:chExt cx="2669842" cy="3407496"/>
          </a:xfrm>
        </p:grpSpPr>
        <p:grpSp>
          <p:nvGrpSpPr>
            <p:cNvPr id="201" name="Gruppieren 200"/>
            <p:cNvGrpSpPr/>
            <p:nvPr/>
          </p:nvGrpSpPr>
          <p:grpSpPr>
            <a:xfrm>
              <a:off x="6660232" y="2492896"/>
              <a:ext cx="2562305" cy="1296144"/>
              <a:chOff x="3419872" y="2457777"/>
              <a:chExt cx="2562305" cy="1296144"/>
            </a:xfrm>
          </p:grpSpPr>
          <p:grpSp>
            <p:nvGrpSpPr>
              <p:cNvPr id="250" name="Gruppieren 249"/>
              <p:cNvGrpSpPr/>
              <p:nvPr/>
            </p:nvGrpSpPr>
            <p:grpSpPr>
              <a:xfrm>
                <a:off x="3419872" y="2457777"/>
                <a:ext cx="2562305" cy="1296144"/>
                <a:chOff x="3419872" y="2457777"/>
                <a:chExt cx="2562305" cy="1296144"/>
              </a:xfrm>
            </p:grpSpPr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52" name="Textfeld 251"/>
                    <p:cNvSpPr txBox="1"/>
                    <p:nvPr/>
                  </p:nvSpPr>
                  <p:spPr>
                    <a:xfrm>
                      <a:off x="3419872" y="2457777"/>
                      <a:ext cx="2562305" cy="1066574"/>
                    </a:xfrm>
                    <a:prstGeom prst="rect">
                      <a:avLst/>
                    </a:prstGeom>
                    <a:noFill/>
                    <a:ln w="12700"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14:m>
                        <m:oMath xmlns:m="http://schemas.openxmlformats.org/officeDocument/2006/math">
                          <m:d>
                            <m:dPr>
                              <m:ctrlPr>
                                <a:rPr lang="en-US" sz="1000" i="1" smtClean="0">
                                  <a:latin typeface="Cambria Math"/>
                                </a:rPr>
                              </m:ctrlPr>
                            </m:dPr>
                            <m:e>
                              <m:m>
                                <m:mPr>
                                  <m:mcs>
                                    <m:mc>
                                      <m:mcPr>
                                        <m:count m:val="3"/>
                                        <m:mcJc m:val="center"/>
                                      </m:mcPr>
                                    </m:mc>
                                  </m:mcs>
                                  <m:ctrlPr>
                                    <a:rPr lang="en-US" sz="1000" i="1" smtClean="0">
                                      <a:latin typeface="Cambria Math"/>
                                    </a:rPr>
                                  </m:ctrlPr>
                                </m:mPr>
                                <m:mr>
                                  <m:e>
                                    <m:eqArr>
                                      <m:eqArrPr>
                                        <m:ctrlPr>
                                          <a:rPr lang="en-US" sz="1000" i="1" smtClean="0">
                                            <a:latin typeface="Cambria Math"/>
                                          </a:rPr>
                                        </m:ctrlPr>
                                      </m:eqArrPr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 smtClean="0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11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r>
                                          <a:rPr lang="en-US" sz="1000" i="1">
                                            <a:latin typeface="Cambria Math"/>
                                          </a:rPr>
                                          <m:t>⋮</m:t>
                                        </m:r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𝑘𝑙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+1,1</m:t>
                                            </m:r>
                                          </m:sub>
                                        </m:sSub>
                                      </m:e>
                                    </m:eqArr>
                                  </m:e>
                                  <m:e>
                                    <m:eqArr>
                                      <m:eqArrPr>
                                        <m:ctrlPr>
                                          <a:rPr lang="en-US" sz="1000" i="1" smtClean="0">
                                            <a:latin typeface="Cambria Math"/>
                                          </a:rPr>
                                        </m:ctrlPr>
                                      </m:eqArrPr>
                                      <m:e>
                                        <m:r>
                                          <a:rPr lang="en-US" sz="1000" i="1" smtClean="0">
                                            <a:latin typeface="Cambria Math"/>
                                          </a:rPr>
                                          <m:t>⋯</m:t>
                                        </m:r>
                                      </m:e>
                                      <m:e/>
                                      <m:e/>
                                      <m:e/>
                                    </m:eqArr>
                                  </m:e>
                                  <m:e>
                                    <m:eqArr>
                                      <m:eqArr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eqArrPr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𝑙𝑗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r>
                                          <a:rPr lang="en-US" sz="1000" i="1">
                                            <a:latin typeface="Cambria Math"/>
                                          </a:rPr>
                                          <m:t>⋮</m:t>
                                        </m:r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𝑗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en-US" sz="1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𝐴</m:t>
                                            </m:r>
                                          </m:e>
                                          <m:sub>
                                            <m:r>
                                              <a:rPr lang="de-DE" sz="1000" i="1">
                                                <a:latin typeface="Cambria Math"/>
                                              </a:rPr>
                                              <m:t>𝑘</m:t>
                                            </m:r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+1</m:t>
                                            </m:r>
                                            <m:r>
                                              <a:rPr lang="de-DE" sz="1000" b="0" i="1" smtClean="0">
                                                <a:latin typeface="Cambria Math"/>
                                              </a:rPr>
                                              <m:t>𝑗</m:t>
                                            </m:r>
                                          </m:sub>
                                        </m:sSub>
                                      </m:e>
                                    </m:eqArr>
                                  </m:e>
                                </m:mr>
                                <m:mr>
                                  <m:e>
                                    <m:r>
                                      <a:rPr lang="en-US" sz="1000" i="1" smtClean="0">
                                        <a:latin typeface="Cambria Math"/>
                                      </a:rPr>
                                      <m:t>⋮</m:t>
                                    </m:r>
                                  </m:e>
                                  <m:e/>
                                  <m:e>
                                    <m:r>
                                      <a:rPr lang="en-US" sz="1000" i="1" smtClean="0">
                                        <a:latin typeface="Cambria Math"/>
                                      </a:rPr>
                                      <m:t>⋮</m:t>
                                    </m:r>
                                  </m:e>
                                </m:mr>
                                <m:mr>
                                  <m:e>
                                    <m:sSub>
                                      <m:sSubPr>
                                        <m:ctrlPr>
                                          <a:rPr lang="en-US" sz="1000" i="1" smtClean="0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𝑖𝑙</m:t>
                                        </m:r>
                                      </m:sub>
                                    </m:sSub>
                                  </m:e>
                                  <m:e>
                                    <m:r>
                                      <a:rPr lang="en-US" sz="1000" i="1" smtClean="0">
                                        <a:latin typeface="Cambria Math"/>
                                      </a:rPr>
                                      <m:t>⋯</m:t>
                                    </m:r>
                                  </m:e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𝑖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</m:e>
                                </m:mr>
                              </m:m>
                            </m:e>
                          </m:d>
                          <m:r>
                            <a:rPr lang="de-DE" sz="1000" b="0" i="0" smtClean="0">
                              <a:latin typeface="Cambria Math"/>
                            </a:rPr>
                            <m:t> </m:t>
                          </m:r>
                          <m:r>
                            <a:rPr lang="de-DE" sz="1000" b="0" i="1" smtClean="0">
                              <a:latin typeface="Cambria Math"/>
                              <a:ea typeface="Cambria Math"/>
                            </a:rPr>
                            <m:t>∙ </m:t>
                          </m:r>
                          <m:d>
                            <m:dPr>
                              <m:ctrlPr>
                                <a:rPr lang="de-DE" sz="10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eqArr>
                                <m:eqArrPr>
                                  <m:ctrlP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eqArrPr>
                                <m:e>
                                  <m:sSub>
                                    <m:sSubPr>
                                      <m:ctrlP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sz="1000" i="1">
                                      <a:latin typeface="Cambria Math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𝑘</m:t>
                                      </m:r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sz="1000" i="1">
                                      <a:latin typeface="Cambria Math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𝑗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d>
                        </m:oMath>
                      </a14:m>
                      <a:r>
                        <a:rPr lang="en-US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= </a:t>
                      </a:r>
                      <a14:m>
                        <m:oMath xmlns:m="http://schemas.openxmlformats.org/officeDocument/2006/math">
                          <m:d>
                            <m:dPr>
                              <m:ctrlPr>
                                <a:rPr lang="de-DE" sz="1000" i="1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eqArr>
                                <m:eqArr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eqArrPr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sz="1000" i="1">
                                      <a:latin typeface="Cambria Math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𝑘</m:t>
                                      </m:r>
                                    </m:sub>
                                  </m:sSub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𝑘</m:t>
                                      </m:r>
                                      <m:r>
                                        <a:rPr lang="de-DE" sz="1000" i="1">
                                          <a:latin typeface="Cambria Math"/>
                                          <a:ea typeface="Cambria Math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  <m:e>
                                  <m:r>
                                    <a:rPr lang="en-US" sz="1000" i="1">
                                      <a:latin typeface="Cambria Math"/>
                                    </a:rPr>
                                    <m:t>⋮</m:t>
                                  </m:r>
                                </m:e>
                                <m:e>
                                  <m:sSub>
                                    <m:sSubPr>
                                      <m:ctrlPr>
                                        <a:rPr lang="de-DE" sz="1000" i="1" smtClean="0">
                                          <a:latin typeface="Cambria Math"/>
                                          <a:ea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𝑏</m:t>
                                      </m:r>
                                    </m:e>
                                    <m:sub>
                                      <m:r>
                                        <a:rPr lang="de-DE" sz="1000" b="0" i="1" smtClean="0">
                                          <a:latin typeface="Cambria Math"/>
                                          <a:ea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eqArr>
                            </m:e>
                          </m:d>
                        </m:oMath>
                      </a14:m>
                      <a:r>
                        <a:rPr lang="en-US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mc:Choice>
              <mc:Fallback xmlns="">
                <p:sp>
                  <p:nvSpPr>
                    <p:cNvPr id="252" name="Textfeld 251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3419872" y="2457777"/>
                      <a:ext cx="2562305" cy="1066574"/>
                    </a:xfrm>
                    <a:prstGeom prst="rect">
                      <a:avLst/>
                    </a:prstGeom>
                    <a:blipFill rotWithShape="1">
                      <a:blip r:embed="rId6"/>
                      <a:stretch>
                        <a:fillRect/>
                      </a:stretch>
                    </a:blipFill>
                    <a:ln w="12700">
                      <a:noFill/>
                    </a:ln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253" name="Textfeld 252"/>
                <p:cNvSpPr txBox="1"/>
                <p:nvPr/>
              </p:nvSpPr>
              <p:spPr>
                <a:xfrm>
                  <a:off x="3568256" y="3507700"/>
                  <a:ext cx="2413921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nfluence matrix 	         Sources        BC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51" name="Rechteck 250"/>
              <p:cNvSpPr/>
              <p:nvPr/>
            </p:nvSpPr>
            <p:spPr>
              <a:xfrm>
                <a:off x="5396484" y="2733295"/>
                <a:ext cx="442329" cy="516570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03" name="Gruppieren 202"/>
            <p:cNvGrpSpPr/>
            <p:nvPr/>
          </p:nvGrpSpPr>
          <p:grpSpPr>
            <a:xfrm>
              <a:off x="6601368" y="381544"/>
              <a:ext cx="2669842" cy="2059698"/>
              <a:chOff x="6989680" y="570850"/>
              <a:chExt cx="1947705" cy="1502593"/>
            </a:xfrm>
          </p:grpSpPr>
          <p:cxnSp>
            <p:nvCxnSpPr>
              <p:cNvPr id="205" name="Gerade Verbindung 204"/>
              <p:cNvCxnSpPr/>
              <p:nvPr/>
            </p:nvCxnSpPr>
            <p:spPr>
              <a:xfrm flipH="1">
                <a:off x="7774855" y="570850"/>
                <a:ext cx="85592" cy="111913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6" name="Gerade Verbindung 205"/>
              <p:cNvCxnSpPr/>
              <p:nvPr/>
            </p:nvCxnSpPr>
            <p:spPr>
              <a:xfrm flipH="1">
                <a:off x="7786416" y="674510"/>
                <a:ext cx="53719" cy="74637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7" name="Gerade Verbindung 206"/>
              <p:cNvCxnSpPr/>
              <p:nvPr/>
            </p:nvCxnSpPr>
            <p:spPr>
              <a:xfrm flipH="1">
                <a:off x="7786416" y="780936"/>
                <a:ext cx="34127" cy="41554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8" name="Gerade Verbindung 207"/>
              <p:cNvCxnSpPr/>
              <p:nvPr/>
            </p:nvCxnSpPr>
            <p:spPr>
              <a:xfrm flipH="1">
                <a:off x="7958099" y="1969446"/>
                <a:ext cx="19761" cy="26169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9" name="Gerade Verbindung 208"/>
              <p:cNvCxnSpPr/>
              <p:nvPr/>
            </p:nvCxnSpPr>
            <p:spPr>
              <a:xfrm flipH="1">
                <a:off x="8061469" y="1959851"/>
                <a:ext cx="27698" cy="35764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0" name="Gerade Verbindung 209"/>
              <p:cNvCxnSpPr/>
              <p:nvPr/>
            </p:nvCxnSpPr>
            <p:spPr>
              <a:xfrm flipH="1">
                <a:off x="8164839" y="1944498"/>
                <a:ext cx="37554" cy="51117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1" name="Gerade Verbindung 210"/>
              <p:cNvCxnSpPr/>
              <p:nvPr/>
            </p:nvCxnSpPr>
            <p:spPr>
              <a:xfrm flipH="1">
                <a:off x="8268209" y="1934903"/>
                <a:ext cx="49329" cy="60712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2" name="Gerade Verbindung 211"/>
              <p:cNvCxnSpPr/>
              <p:nvPr/>
            </p:nvCxnSpPr>
            <p:spPr>
              <a:xfrm flipH="1">
                <a:off x="8371579" y="1923388"/>
                <a:ext cx="55346" cy="72227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3" name="Gerade Verbindung 212"/>
              <p:cNvCxnSpPr/>
              <p:nvPr/>
            </p:nvCxnSpPr>
            <p:spPr>
              <a:xfrm flipH="1">
                <a:off x="8474949" y="1911874"/>
                <a:ext cx="63283" cy="83741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4" name="Gerade Verbindung 213"/>
              <p:cNvCxnSpPr/>
              <p:nvPr/>
            </p:nvCxnSpPr>
            <p:spPr>
              <a:xfrm flipH="1">
                <a:off x="8578318" y="1903500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 flipH="1">
                <a:off x="8681688" y="1890764"/>
                <a:ext cx="75319" cy="104851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 flipH="1">
                <a:off x="8785058" y="1885007"/>
                <a:ext cx="73660" cy="110609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17" name="Freihandform 216"/>
              <p:cNvSpPr/>
              <p:nvPr/>
            </p:nvSpPr>
            <p:spPr>
              <a:xfrm>
                <a:off x="7403225" y="570850"/>
                <a:ext cx="383145" cy="1262990"/>
              </a:xfrm>
              <a:custGeom>
                <a:avLst/>
                <a:gdLst>
                  <a:gd name="connsiteX0" fmla="*/ 0 w 1080654"/>
                  <a:gd name="connsiteY0" fmla="*/ 1893454 h 2068568"/>
                  <a:gd name="connsiteX1" fmla="*/ 794327 w 1080654"/>
                  <a:gd name="connsiteY1" fmla="*/ 1884218 h 2068568"/>
                  <a:gd name="connsiteX2" fmla="*/ 1080654 w 1080654"/>
                  <a:gd name="connsiteY2" fmla="*/ 0 h 2068568"/>
                  <a:gd name="connsiteX0" fmla="*/ 0 w 286327"/>
                  <a:gd name="connsiteY0" fmla="*/ 1884218 h 1884218"/>
                  <a:gd name="connsiteX1" fmla="*/ 286327 w 286327"/>
                  <a:gd name="connsiteY1" fmla="*/ 0 h 1884218"/>
                  <a:gd name="connsiteX0" fmla="*/ 0 w 563418"/>
                  <a:gd name="connsiteY0" fmla="*/ 2087418 h 2087418"/>
                  <a:gd name="connsiteX1" fmla="*/ 563418 w 563418"/>
                  <a:gd name="connsiteY1" fmla="*/ 0 h 2087418"/>
                  <a:gd name="connsiteX0" fmla="*/ 0 w 563418"/>
                  <a:gd name="connsiteY0" fmla="*/ 2087418 h 2089517"/>
                  <a:gd name="connsiteX1" fmla="*/ 563418 w 563418"/>
                  <a:gd name="connsiteY1" fmla="*/ 0 h 2089517"/>
                  <a:gd name="connsiteX0" fmla="*/ 0 w 633890"/>
                  <a:gd name="connsiteY0" fmla="*/ 2087418 h 2089538"/>
                  <a:gd name="connsiteX1" fmla="*/ 563418 w 633890"/>
                  <a:gd name="connsiteY1" fmla="*/ 0 h 2089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3890" h="2089538">
                    <a:moveTo>
                      <a:pt x="0" y="2087418"/>
                    </a:moveTo>
                    <a:cubicBezTo>
                      <a:pt x="484909" y="2159769"/>
                      <a:pt x="775854" y="358679"/>
                      <a:pt x="563418" y="0"/>
                    </a:cubicBezTo>
                  </a:path>
                </a:pathLst>
              </a:cu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8" name="Rechteck 217"/>
              <p:cNvSpPr/>
              <p:nvPr/>
            </p:nvSpPr>
            <p:spPr>
              <a:xfrm>
                <a:off x="7370516" y="1049355"/>
                <a:ext cx="565246" cy="1024088"/>
              </a:xfrm>
              <a:prstGeom prst="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219" name="Gruppieren 218"/>
              <p:cNvGrpSpPr/>
              <p:nvPr/>
            </p:nvGrpSpPr>
            <p:grpSpPr>
              <a:xfrm>
                <a:off x="7599302" y="570851"/>
                <a:ext cx="1305724" cy="1436297"/>
                <a:chOff x="4139952" y="908720"/>
                <a:chExt cx="2160240" cy="2376264"/>
              </a:xfrm>
            </p:grpSpPr>
            <p:grpSp>
              <p:nvGrpSpPr>
                <p:cNvPr id="246" name="Gruppieren 245"/>
                <p:cNvGrpSpPr/>
                <p:nvPr/>
              </p:nvGrpSpPr>
              <p:grpSpPr>
                <a:xfrm>
                  <a:off x="4139952" y="908720"/>
                  <a:ext cx="2160240" cy="2376264"/>
                  <a:chOff x="4139952" y="908720"/>
                  <a:chExt cx="2160240" cy="2376264"/>
                </a:xfrm>
              </p:grpSpPr>
              <p:cxnSp>
                <p:nvCxnSpPr>
                  <p:cNvPr id="248" name="Gerade Verbindung 247"/>
                  <p:cNvCxnSpPr/>
                  <p:nvPr/>
                </p:nvCxnSpPr>
                <p:spPr>
                  <a:xfrm flipH="1">
                    <a:off x="4139952" y="908720"/>
                    <a:ext cx="432048" cy="2376264"/>
                  </a:xfrm>
                  <a:prstGeom prst="line">
                    <a:avLst/>
                  </a:prstGeom>
                  <a:noFill/>
                  <a:ln w="12700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249" name="Gerade Verbindung 248"/>
                  <p:cNvCxnSpPr/>
                  <p:nvPr/>
                </p:nvCxnSpPr>
                <p:spPr>
                  <a:xfrm flipH="1">
                    <a:off x="4139952" y="3068960"/>
                    <a:ext cx="2160240" cy="216024"/>
                  </a:xfrm>
                  <a:prstGeom prst="line">
                    <a:avLst/>
                  </a:prstGeom>
                  <a:noFill/>
                  <a:ln w="12700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  <p:cxnSp>
              <p:nvCxnSpPr>
                <p:cNvPr id="247" name="Gerade Verbindung 27"/>
                <p:cNvCxnSpPr/>
                <p:nvPr/>
              </p:nvCxnSpPr>
              <p:spPr>
                <a:xfrm rot="16200000" flipH="1">
                  <a:off x="4355976" y="1124744"/>
                  <a:ext cx="2160240" cy="1728192"/>
                </a:xfrm>
                <a:prstGeom prst="curvedConnector3">
                  <a:avLst>
                    <a:gd name="adj1" fmla="val 50000"/>
                  </a:avLst>
                </a:prstGeom>
                <a:noFill/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grpSp>
            <p:nvGrpSpPr>
              <p:cNvPr id="220" name="Gruppieren 219"/>
              <p:cNvGrpSpPr/>
              <p:nvPr/>
            </p:nvGrpSpPr>
            <p:grpSpPr>
              <a:xfrm>
                <a:off x="7022319" y="592391"/>
                <a:ext cx="434624" cy="1253976"/>
                <a:chOff x="3225085" y="740761"/>
                <a:chExt cx="719058" cy="2074625"/>
              </a:xfrm>
            </p:grpSpPr>
            <p:sp>
              <p:nvSpPr>
                <p:cNvPr id="244" name="Freihandform 243"/>
                <p:cNvSpPr/>
                <p:nvPr/>
              </p:nvSpPr>
              <p:spPr>
                <a:xfrm>
                  <a:off x="3544247" y="740761"/>
                  <a:ext cx="399896" cy="2059735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896" h="2059735">
                      <a:moveTo>
                        <a:pt x="0" y="2059710"/>
                      </a:moveTo>
                      <a:cubicBezTo>
                        <a:pt x="355599" y="2067407"/>
                        <a:pt x="517235" y="358679"/>
                        <a:pt x="304799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45" name="Gerade Verbindung 244"/>
                <p:cNvCxnSpPr>
                  <a:endCxn id="244" idx="0"/>
                </p:cNvCxnSpPr>
                <p:nvPr/>
              </p:nvCxnSpPr>
              <p:spPr>
                <a:xfrm flipV="1">
                  <a:off x="3225085" y="2800472"/>
                  <a:ext cx="319162" cy="14914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cxnSp>
            <p:nvCxnSpPr>
              <p:cNvPr id="221" name="Gerade Verbindung 220"/>
              <p:cNvCxnSpPr/>
              <p:nvPr/>
            </p:nvCxnSpPr>
            <p:spPr>
              <a:xfrm>
                <a:off x="7599302" y="2007147"/>
                <a:ext cx="1338083" cy="0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Gerade Verbindung 221"/>
              <p:cNvCxnSpPr/>
              <p:nvPr/>
            </p:nvCxnSpPr>
            <p:spPr>
              <a:xfrm>
                <a:off x="7291370" y="1821371"/>
                <a:ext cx="315581" cy="168481"/>
              </a:xfrm>
              <a:prstGeom prst="line">
                <a:avLst/>
              </a:prstGeom>
              <a:ln w="53975" cmpd="sng">
                <a:solidFill>
                  <a:srgbClr val="C00000"/>
                </a:solidFill>
                <a:prstDash val="sysDot"/>
                <a:headEnd type="none" w="sm" len="sm"/>
                <a:tailEnd type="none" w="sm" len="sm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Gerade Verbindung 222"/>
              <p:cNvCxnSpPr/>
              <p:nvPr/>
            </p:nvCxnSpPr>
            <p:spPr>
              <a:xfrm flipH="1">
                <a:off x="7347625" y="636705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4" name="Gerade Verbindung 223"/>
              <p:cNvCxnSpPr/>
              <p:nvPr/>
            </p:nvCxnSpPr>
            <p:spPr>
              <a:xfrm flipH="1">
                <a:off x="7369955" y="722167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Gerade Verbindung 224"/>
              <p:cNvCxnSpPr/>
              <p:nvPr/>
            </p:nvCxnSpPr>
            <p:spPr>
              <a:xfrm flipH="1">
                <a:off x="7385567" y="807628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6" name="Gerade Verbindung 225"/>
              <p:cNvCxnSpPr/>
              <p:nvPr/>
            </p:nvCxnSpPr>
            <p:spPr>
              <a:xfrm flipH="1">
                <a:off x="7386703" y="893090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7" name="Gerade Verbindung 226"/>
              <p:cNvCxnSpPr/>
              <p:nvPr/>
            </p:nvCxnSpPr>
            <p:spPr>
              <a:xfrm flipH="1">
                <a:off x="7392285" y="978552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8" name="Gerade Verbindung 227"/>
              <p:cNvCxnSpPr/>
              <p:nvPr/>
            </p:nvCxnSpPr>
            <p:spPr>
              <a:xfrm flipH="1">
                <a:off x="7391149" y="1064013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 flipH="1">
                <a:off x="7385567" y="1149475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 flipH="1">
                <a:off x="7379984" y="1234937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Gerade Verbindung 230"/>
              <p:cNvCxnSpPr/>
              <p:nvPr/>
            </p:nvCxnSpPr>
            <p:spPr>
              <a:xfrm flipH="1">
                <a:off x="7364373" y="1320397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 flipH="1">
                <a:off x="7353208" y="1401049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 flipH="1">
                <a:off x="7330877" y="1493463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4" name="Gerade Verbindung 233"/>
              <p:cNvCxnSpPr/>
              <p:nvPr/>
            </p:nvCxnSpPr>
            <p:spPr>
              <a:xfrm flipH="1">
                <a:off x="7320849" y="1571324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5" name="Gerade Verbindung 234"/>
              <p:cNvCxnSpPr/>
              <p:nvPr/>
            </p:nvCxnSpPr>
            <p:spPr>
              <a:xfrm flipH="1">
                <a:off x="7289050" y="1663440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6" name="Gerade Verbindung 235"/>
              <p:cNvCxnSpPr/>
              <p:nvPr/>
            </p:nvCxnSpPr>
            <p:spPr>
              <a:xfrm flipH="1">
                <a:off x="6989680" y="1749074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7" name="Gerade Verbindung 236"/>
              <p:cNvCxnSpPr/>
              <p:nvPr/>
            </p:nvCxnSpPr>
            <p:spPr>
              <a:xfrm flipH="1">
                <a:off x="7093050" y="1749074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8" name="Gerade Verbindung 237"/>
              <p:cNvCxnSpPr/>
              <p:nvPr/>
            </p:nvCxnSpPr>
            <p:spPr>
              <a:xfrm flipH="1">
                <a:off x="7196420" y="1749074"/>
                <a:ext cx="65279" cy="92116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9" name="Gerade Verbindung 238"/>
              <p:cNvCxnSpPr/>
              <p:nvPr/>
            </p:nvCxnSpPr>
            <p:spPr>
              <a:xfrm flipH="1">
                <a:off x="7593965" y="1065365"/>
                <a:ext cx="175554" cy="957792"/>
              </a:xfrm>
              <a:prstGeom prst="line">
                <a:avLst/>
              </a:prstGeom>
              <a:ln w="53975" cmpd="sng">
                <a:solidFill>
                  <a:srgbClr val="C00000"/>
                </a:solidFill>
                <a:prstDash val="sysDot"/>
                <a:headEnd type="none" w="sm" len="sm"/>
                <a:tailEnd type="none" w="sm" len="sm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Gerade Verbindung 239"/>
              <p:cNvCxnSpPr/>
              <p:nvPr/>
            </p:nvCxnSpPr>
            <p:spPr>
              <a:xfrm flipH="1">
                <a:off x="7599329" y="1987062"/>
                <a:ext cx="191618" cy="24617"/>
              </a:xfrm>
              <a:prstGeom prst="line">
                <a:avLst/>
              </a:prstGeom>
              <a:ln w="53975" cmpd="sng">
                <a:solidFill>
                  <a:srgbClr val="C00000"/>
                </a:solidFill>
                <a:prstDash val="sysDot"/>
                <a:headEnd type="none" w="sm" len="sm"/>
                <a:tailEnd type="none" w="sm" len="sm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1" name="Textfeld 240"/>
              <p:cNvSpPr txBox="1"/>
              <p:nvPr/>
            </p:nvSpPr>
            <p:spPr>
              <a:xfrm>
                <a:off x="7637683" y="1471779"/>
                <a:ext cx="504056" cy="179623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GB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riction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2" name="Textfeld 241"/>
              <p:cNvSpPr txBox="1"/>
              <p:nvPr/>
            </p:nvSpPr>
            <p:spPr>
              <a:xfrm>
                <a:off x="7318258" y="1659170"/>
                <a:ext cx="504056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GB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ear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3" name="Textfeld 242"/>
              <p:cNvSpPr txBox="1"/>
              <p:nvPr/>
            </p:nvSpPr>
            <p:spPr>
              <a:xfrm>
                <a:off x="7637684" y="1783957"/>
                <a:ext cx="504056" cy="18523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GB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ubb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204" name="Gewinkelte Verbindung 203"/>
            <p:cNvCxnSpPr>
              <a:endCxn id="252" idx="3"/>
            </p:cNvCxnSpPr>
            <p:nvPr/>
          </p:nvCxnSpPr>
          <p:spPr>
            <a:xfrm>
              <a:off x="7742712" y="2127748"/>
              <a:ext cx="1479825" cy="898435"/>
            </a:xfrm>
            <a:prstGeom prst="bentConnector3">
              <a:avLst>
                <a:gd name="adj1" fmla="val 115448"/>
              </a:avLst>
            </a:prstGeom>
            <a:ln w="38100" cmpd="sng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027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24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25"/>
          <p:cNvSpPr/>
          <p:nvPr/>
        </p:nvSpPr>
        <p:spPr>
          <a:xfrm>
            <a:off x="2411760" y="1268760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6" name="Gruppieren 75"/>
          <p:cNvGrpSpPr/>
          <p:nvPr/>
        </p:nvGrpSpPr>
        <p:grpSpPr>
          <a:xfrm>
            <a:off x="2411760" y="1506345"/>
            <a:ext cx="2900882" cy="2426711"/>
            <a:chOff x="2411760" y="1506345"/>
            <a:chExt cx="3024336" cy="2426711"/>
          </a:xfrm>
        </p:grpSpPr>
        <p:grpSp>
          <p:nvGrpSpPr>
            <p:cNvPr id="75" name="Gruppieren 74"/>
            <p:cNvGrpSpPr/>
            <p:nvPr/>
          </p:nvGrpSpPr>
          <p:grpSpPr>
            <a:xfrm>
              <a:off x="2411760" y="1506345"/>
              <a:ext cx="2900882" cy="2210687"/>
              <a:chOff x="2195736" y="1506345"/>
              <a:chExt cx="3116906" cy="2210687"/>
            </a:xfrm>
          </p:grpSpPr>
          <p:grpSp>
            <p:nvGrpSpPr>
              <p:cNvPr id="11" name="Gruppieren 10"/>
              <p:cNvGrpSpPr/>
              <p:nvPr/>
            </p:nvGrpSpPr>
            <p:grpSpPr>
              <a:xfrm>
                <a:off x="2411760" y="1628800"/>
                <a:ext cx="2900882" cy="2088232"/>
                <a:chOff x="2483768" y="1628800"/>
                <a:chExt cx="2520000" cy="2088232"/>
              </a:xfrm>
            </p:grpSpPr>
            <p:cxnSp>
              <p:nvCxnSpPr>
                <p:cNvPr id="5" name="Gerade Verbindung mit Pfeil 4"/>
                <p:cNvCxnSpPr/>
                <p:nvPr/>
              </p:nvCxnSpPr>
              <p:spPr>
                <a:xfrm flipV="1">
                  <a:off x="2483768" y="1628800"/>
                  <a:ext cx="0" cy="2088232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" name="Gerade Verbindung mit Pfeil 5"/>
                <p:cNvCxnSpPr/>
                <p:nvPr/>
              </p:nvCxnSpPr>
              <p:spPr>
                <a:xfrm>
                  <a:off x="2483768" y="3717032"/>
                  <a:ext cx="2520000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uppieren 57"/>
              <p:cNvGrpSpPr/>
              <p:nvPr/>
            </p:nvGrpSpPr>
            <p:grpSpPr>
              <a:xfrm rot="20890269">
                <a:off x="3222573" y="2757124"/>
                <a:ext cx="1368432" cy="432048"/>
                <a:chOff x="3222573" y="2757124"/>
                <a:chExt cx="1368432" cy="432048"/>
              </a:xfrm>
            </p:grpSpPr>
            <p:sp>
              <p:nvSpPr>
                <p:cNvPr id="21" name="Rechteck 20"/>
                <p:cNvSpPr/>
                <p:nvPr/>
              </p:nvSpPr>
              <p:spPr>
                <a:xfrm>
                  <a:off x="3222573" y="2973148"/>
                  <a:ext cx="842392" cy="144016"/>
                </a:xfrm>
                <a:prstGeom prst="rect">
                  <a:avLst/>
                </a:prstGeom>
                <a:pattFill prst="ltVert">
                  <a:fgClr>
                    <a:srgbClr val="C00000"/>
                  </a:fgClr>
                  <a:bgClr>
                    <a:schemeClr val="bg1"/>
                  </a:bgClr>
                </a:pattFill>
                <a:ln w="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" name="Gerade Verbindung mit Pfeil 12"/>
                <p:cNvCxnSpPr/>
                <p:nvPr/>
              </p:nvCxnSpPr>
              <p:spPr>
                <a:xfrm flipV="1">
                  <a:off x="3222573" y="2757124"/>
                  <a:ext cx="0" cy="36004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Gerade Verbindung mit Pfeil 13"/>
                <p:cNvCxnSpPr/>
                <p:nvPr/>
              </p:nvCxnSpPr>
              <p:spPr>
                <a:xfrm>
                  <a:off x="3222573" y="3117164"/>
                  <a:ext cx="136843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Gerade Verbindung 18"/>
                <p:cNvCxnSpPr/>
                <p:nvPr/>
              </p:nvCxnSpPr>
              <p:spPr>
                <a:xfrm>
                  <a:off x="3222573" y="3117164"/>
                  <a:ext cx="84239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oval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Ellipse 24"/>
                <p:cNvSpPr/>
                <p:nvPr/>
              </p:nvSpPr>
              <p:spPr>
                <a:xfrm>
                  <a:off x="3571761" y="3045156"/>
                  <a:ext cx="144016" cy="144016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9" name="Gerade Verbindung 28"/>
              <p:cNvCxnSpPr/>
              <p:nvPr/>
            </p:nvCxnSpPr>
            <p:spPr>
              <a:xfrm flipV="1">
                <a:off x="4060687" y="1916833"/>
                <a:ext cx="755124" cy="123108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mit Pfeil 30"/>
              <p:cNvCxnSpPr/>
              <p:nvPr/>
            </p:nvCxnSpPr>
            <p:spPr>
              <a:xfrm flipV="1">
                <a:off x="3271905" y="1989145"/>
                <a:ext cx="1113748" cy="1265426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mit Pfeil 34"/>
              <p:cNvCxnSpPr/>
              <p:nvPr/>
            </p:nvCxnSpPr>
            <p:spPr>
              <a:xfrm flipV="1">
                <a:off x="4099632" y="1978387"/>
                <a:ext cx="294983" cy="10985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/>
              <p:cNvSpPr txBox="1"/>
              <p:nvPr/>
            </p:nvSpPr>
            <p:spPr>
              <a:xfrm>
                <a:off x="3510281" y="3326795"/>
                <a:ext cx="7368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nel </a:t>
                </a:r>
                <a:r>
                  <a:rPr lang="en-US" sz="1000" b="1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</a:t>
                </a:r>
                <a:r>
                  <a:rPr lang="en-US" sz="1000" b="1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="1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Textfeld 39"/>
              <p:cNvSpPr txBox="1"/>
              <p:nvPr/>
            </p:nvSpPr>
            <p:spPr>
              <a:xfrm>
                <a:off x="3495321" y="3131460"/>
                <a:ext cx="33868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Textfeld 40"/>
              <p:cNvSpPr txBox="1"/>
              <p:nvPr/>
            </p:nvSpPr>
            <p:spPr>
              <a:xfrm>
                <a:off x="3553441" y="1725281"/>
                <a:ext cx="72113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nel P</a:t>
                </a:r>
                <a:r>
                  <a:rPr lang="en-US" sz="1000" b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</a:p>
            </p:txBody>
          </p:sp>
          <p:sp>
            <p:nvSpPr>
              <p:cNvPr id="42" name="Textfeld 41"/>
              <p:cNvSpPr txBox="1"/>
              <p:nvPr/>
            </p:nvSpPr>
            <p:spPr>
              <a:xfrm>
                <a:off x="3024941" y="3269346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" name="Textfeld 42"/>
              <p:cNvSpPr txBox="1"/>
              <p:nvPr/>
            </p:nvSpPr>
            <p:spPr>
              <a:xfrm>
                <a:off x="3630843" y="2374367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3834006" y="3087899"/>
                <a:ext cx="46191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" name="Textfeld 44"/>
              <p:cNvSpPr txBox="1"/>
              <p:nvPr/>
            </p:nvSpPr>
            <p:spPr>
              <a:xfrm>
                <a:off x="4165284" y="2430755"/>
                <a:ext cx="55073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3808594" y="2015236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4620235" y="1916831"/>
                <a:ext cx="47984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0" name="Gerade Verbindung mit Pfeil 49"/>
              <p:cNvCxnSpPr/>
              <p:nvPr/>
            </p:nvCxnSpPr>
            <p:spPr>
              <a:xfrm flipH="1" flipV="1">
                <a:off x="4274577" y="1759089"/>
                <a:ext cx="110647" cy="21602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mit Pfeil 52"/>
              <p:cNvCxnSpPr/>
              <p:nvPr/>
            </p:nvCxnSpPr>
            <p:spPr>
              <a:xfrm flipV="1">
                <a:off x="4394615" y="1819102"/>
                <a:ext cx="186999" cy="15240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Freihandform 55"/>
              <p:cNvSpPr/>
              <p:nvPr/>
            </p:nvSpPr>
            <p:spPr>
              <a:xfrm>
                <a:off x="4060687" y="2325712"/>
                <a:ext cx="216831" cy="125254"/>
              </a:xfrm>
              <a:custGeom>
                <a:avLst/>
                <a:gdLst>
                  <a:gd name="connsiteX0" fmla="*/ 0 w 95341"/>
                  <a:gd name="connsiteY0" fmla="*/ 0 h 108342"/>
                  <a:gd name="connsiteX1" fmla="*/ 95341 w 95341"/>
                  <a:gd name="connsiteY1" fmla="*/ 108342 h 10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341" h="108342">
                    <a:moveTo>
                      <a:pt x="0" y="0"/>
                    </a:moveTo>
                    <a:cubicBezTo>
                      <a:pt x="26724" y="48031"/>
                      <a:pt x="53449" y="96063"/>
                      <a:pt x="95341" y="108342"/>
                    </a:cubicBezTo>
                  </a:path>
                </a:pathLst>
              </a:custGeom>
              <a:noFill/>
              <a:ln w="6350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Textfeld 56"/>
              <p:cNvSpPr txBox="1"/>
              <p:nvPr/>
            </p:nvSpPr>
            <p:spPr>
              <a:xfrm>
                <a:off x="3917221" y="2422586"/>
                <a:ext cx="44448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l-GR" sz="1000" dirty="0" smtClean="0">
                    <a:latin typeface="Arial"/>
                    <a:cs typeface="Arial"/>
                  </a:rPr>
                  <a:t>β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Textfeld 68"/>
              <p:cNvSpPr txBox="1"/>
              <p:nvPr/>
            </p:nvSpPr>
            <p:spPr>
              <a:xfrm>
                <a:off x="4047693" y="1557257"/>
                <a:ext cx="432048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0" name="Textfeld 69"/>
              <p:cNvSpPr txBox="1"/>
              <p:nvPr/>
            </p:nvSpPr>
            <p:spPr>
              <a:xfrm>
                <a:off x="4499992" y="1628800"/>
                <a:ext cx="432048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1" name="Textfeld 70"/>
              <p:cNvSpPr txBox="1"/>
              <p:nvPr/>
            </p:nvSpPr>
            <p:spPr>
              <a:xfrm>
                <a:off x="2950619" y="2719933"/>
                <a:ext cx="408991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Textfeld 71"/>
              <p:cNvSpPr txBox="1"/>
              <p:nvPr/>
            </p:nvSpPr>
            <p:spPr>
              <a:xfrm>
                <a:off x="4558790" y="2843131"/>
                <a:ext cx="373250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3" name="Textfeld 72"/>
              <p:cNvSpPr txBox="1"/>
              <p:nvPr/>
            </p:nvSpPr>
            <p:spPr>
              <a:xfrm>
                <a:off x="2195736" y="1506345"/>
                <a:ext cx="321286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74" name="Textfeld 73"/>
            <p:cNvSpPr txBox="1"/>
            <p:nvPr/>
          </p:nvSpPr>
          <p:spPr>
            <a:xfrm>
              <a:off x="5114810" y="3686835"/>
              <a:ext cx="32128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en-US" sz="10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93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/>
          <p:cNvSpPr/>
          <p:nvPr/>
        </p:nvSpPr>
        <p:spPr>
          <a:xfrm>
            <a:off x="2945951" y="518000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8" name="Textfeld 377"/>
          <p:cNvSpPr txBox="1"/>
          <p:nvPr/>
        </p:nvSpPr>
        <p:spPr>
          <a:xfrm>
            <a:off x="1980135" y="5394058"/>
            <a:ext cx="308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000" baseline="-25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76" name="Gruppieren 575"/>
          <p:cNvGrpSpPr/>
          <p:nvPr/>
        </p:nvGrpSpPr>
        <p:grpSpPr>
          <a:xfrm>
            <a:off x="-108520" y="1295380"/>
            <a:ext cx="2900882" cy="2426711"/>
            <a:chOff x="2411760" y="1506345"/>
            <a:chExt cx="3024336" cy="2426711"/>
          </a:xfrm>
        </p:grpSpPr>
        <p:grpSp>
          <p:nvGrpSpPr>
            <p:cNvPr id="577" name="Gruppieren 576"/>
            <p:cNvGrpSpPr/>
            <p:nvPr/>
          </p:nvGrpSpPr>
          <p:grpSpPr>
            <a:xfrm>
              <a:off x="2411760" y="1506345"/>
              <a:ext cx="2900882" cy="2210687"/>
              <a:chOff x="2195736" y="1506345"/>
              <a:chExt cx="3116906" cy="2210687"/>
            </a:xfrm>
          </p:grpSpPr>
          <p:grpSp>
            <p:nvGrpSpPr>
              <p:cNvPr id="579" name="Gruppieren 578"/>
              <p:cNvGrpSpPr/>
              <p:nvPr/>
            </p:nvGrpSpPr>
            <p:grpSpPr>
              <a:xfrm>
                <a:off x="2411760" y="1628800"/>
                <a:ext cx="2900882" cy="2088232"/>
                <a:chOff x="2483768" y="1628800"/>
                <a:chExt cx="2520000" cy="2088232"/>
              </a:xfrm>
            </p:grpSpPr>
            <p:cxnSp>
              <p:nvCxnSpPr>
                <p:cNvPr id="607" name="Gerade Verbindung mit Pfeil 606"/>
                <p:cNvCxnSpPr/>
                <p:nvPr/>
              </p:nvCxnSpPr>
              <p:spPr>
                <a:xfrm flipV="1">
                  <a:off x="2483768" y="1628800"/>
                  <a:ext cx="0" cy="2088232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8" name="Gerade Verbindung mit Pfeil 607"/>
                <p:cNvCxnSpPr/>
                <p:nvPr/>
              </p:nvCxnSpPr>
              <p:spPr>
                <a:xfrm>
                  <a:off x="2483768" y="3717032"/>
                  <a:ext cx="2520000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0" name="Gruppieren 579"/>
              <p:cNvGrpSpPr/>
              <p:nvPr/>
            </p:nvGrpSpPr>
            <p:grpSpPr>
              <a:xfrm rot="20890269">
                <a:off x="3222573" y="2757124"/>
                <a:ext cx="1368432" cy="432048"/>
                <a:chOff x="3222573" y="2757124"/>
                <a:chExt cx="1368432" cy="432048"/>
              </a:xfrm>
            </p:grpSpPr>
            <p:sp>
              <p:nvSpPr>
                <p:cNvPr id="602" name="Rechteck 601"/>
                <p:cNvSpPr/>
                <p:nvPr/>
              </p:nvSpPr>
              <p:spPr>
                <a:xfrm>
                  <a:off x="3222573" y="2973148"/>
                  <a:ext cx="842392" cy="144016"/>
                </a:xfrm>
                <a:prstGeom prst="rect">
                  <a:avLst/>
                </a:prstGeom>
                <a:pattFill prst="ltVert">
                  <a:fgClr>
                    <a:srgbClr val="C00000"/>
                  </a:fgClr>
                  <a:bgClr>
                    <a:schemeClr val="bg1"/>
                  </a:bgClr>
                </a:pattFill>
                <a:ln w="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03" name="Gerade Verbindung mit Pfeil 602"/>
                <p:cNvCxnSpPr/>
                <p:nvPr/>
              </p:nvCxnSpPr>
              <p:spPr>
                <a:xfrm flipV="1">
                  <a:off x="3222573" y="2757124"/>
                  <a:ext cx="0" cy="36004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4" name="Gerade Verbindung mit Pfeil 603"/>
                <p:cNvCxnSpPr/>
                <p:nvPr/>
              </p:nvCxnSpPr>
              <p:spPr>
                <a:xfrm>
                  <a:off x="3222573" y="3117164"/>
                  <a:ext cx="1368432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5" name="Gerade Verbindung 604"/>
                <p:cNvCxnSpPr/>
                <p:nvPr/>
              </p:nvCxnSpPr>
              <p:spPr>
                <a:xfrm>
                  <a:off x="3222573" y="3117164"/>
                  <a:ext cx="84239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oval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06" name="Ellipse 605"/>
                <p:cNvSpPr/>
                <p:nvPr/>
              </p:nvSpPr>
              <p:spPr>
                <a:xfrm>
                  <a:off x="3571761" y="3045156"/>
                  <a:ext cx="144016" cy="144016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581" name="Gerade Verbindung 580"/>
              <p:cNvCxnSpPr/>
              <p:nvPr/>
            </p:nvCxnSpPr>
            <p:spPr>
              <a:xfrm flipV="1">
                <a:off x="4060687" y="1916833"/>
                <a:ext cx="755124" cy="123108"/>
              </a:xfrm>
              <a:prstGeom prst="line">
                <a:avLst/>
              </a:prstGeom>
              <a:ln>
                <a:solidFill>
                  <a:srgbClr val="C00000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2" name="Gerade Verbindung mit Pfeil 581"/>
              <p:cNvCxnSpPr/>
              <p:nvPr/>
            </p:nvCxnSpPr>
            <p:spPr>
              <a:xfrm flipV="1">
                <a:off x="3271905" y="1989145"/>
                <a:ext cx="1113748" cy="1265426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3" name="Gerade Verbindung mit Pfeil 582"/>
              <p:cNvCxnSpPr/>
              <p:nvPr/>
            </p:nvCxnSpPr>
            <p:spPr>
              <a:xfrm flipV="1">
                <a:off x="4099632" y="1978387"/>
                <a:ext cx="294983" cy="10985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4" name="Textfeld 583"/>
              <p:cNvSpPr txBox="1"/>
              <p:nvPr/>
            </p:nvSpPr>
            <p:spPr>
              <a:xfrm>
                <a:off x="3510281" y="3326795"/>
                <a:ext cx="7368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nel </a:t>
                </a:r>
                <a:r>
                  <a:rPr lang="en-US" sz="1000" b="1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</a:t>
                </a:r>
                <a:r>
                  <a:rPr lang="en-US" sz="1000" b="1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="1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5" name="Textfeld 584"/>
              <p:cNvSpPr txBox="1"/>
              <p:nvPr/>
            </p:nvSpPr>
            <p:spPr>
              <a:xfrm>
                <a:off x="3495321" y="3131460"/>
                <a:ext cx="33868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6" name="Textfeld 585"/>
              <p:cNvSpPr txBox="1"/>
              <p:nvPr/>
            </p:nvSpPr>
            <p:spPr>
              <a:xfrm>
                <a:off x="3553441" y="1725281"/>
                <a:ext cx="72113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nel P</a:t>
                </a:r>
                <a:r>
                  <a:rPr lang="en-US" sz="1000" b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</a:p>
            </p:txBody>
          </p:sp>
          <p:sp>
            <p:nvSpPr>
              <p:cNvPr id="587" name="Textfeld 586"/>
              <p:cNvSpPr txBox="1"/>
              <p:nvPr/>
            </p:nvSpPr>
            <p:spPr>
              <a:xfrm>
                <a:off x="3024941" y="3269346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8" name="Textfeld 587"/>
              <p:cNvSpPr txBox="1"/>
              <p:nvPr/>
            </p:nvSpPr>
            <p:spPr>
              <a:xfrm>
                <a:off x="3630843" y="2374367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9" name="Textfeld 588"/>
              <p:cNvSpPr txBox="1"/>
              <p:nvPr/>
            </p:nvSpPr>
            <p:spPr>
              <a:xfrm>
                <a:off x="3834006" y="3087899"/>
                <a:ext cx="46191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0" name="Textfeld 589"/>
              <p:cNvSpPr txBox="1"/>
              <p:nvPr/>
            </p:nvSpPr>
            <p:spPr>
              <a:xfrm>
                <a:off x="4165284" y="2430755"/>
                <a:ext cx="55073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1" name="Textfeld 590"/>
              <p:cNvSpPr txBox="1"/>
              <p:nvPr/>
            </p:nvSpPr>
            <p:spPr>
              <a:xfrm>
                <a:off x="3808594" y="2015236"/>
                <a:ext cx="33466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</a:p>
            </p:txBody>
          </p:sp>
          <p:sp>
            <p:nvSpPr>
              <p:cNvPr id="592" name="Textfeld 591"/>
              <p:cNvSpPr txBox="1"/>
              <p:nvPr/>
            </p:nvSpPr>
            <p:spPr>
              <a:xfrm>
                <a:off x="4620235" y="1916831"/>
                <a:ext cx="47984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</a:t>
                </a:r>
                <a:r>
                  <a:rPr lang="en-US" sz="1000" baseline="-25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+1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93" name="Gerade Verbindung mit Pfeil 592"/>
              <p:cNvCxnSpPr/>
              <p:nvPr/>
            </p:nvCxnSpPr>
            <p:spPr>
              <a:xfrm flipH="1" flipV="1">
                <a:off x="4274577" y="1759089"/>
                <a:ext cx="110647" cy="216024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4" name="Gerade Verbindung mit Pfeil 593"/>
              <p:cNvCxnSpPr/>
              <p:nvPr/>
            </p:nvCxnSpPr>
            <p:spPr>
              <a:xfrm flipV="1">
                <a:off x="4394615" y="1819102"/>
                <a:ext cx="186999" cy="15240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5" name="Freihandform 594"/>
              <p:cNvSpPr/>
              <p:nvPr/>
            </p:nvSpPr>
            <p:spPr>
              <a:xfrm>
                <a:off x="4060687" y="2325712"/>
                <a:ext cx="216831" cy="125254"/>
              </a:xfrm>
              <a:custGeom>
                <a:avLst/>
                <a:gdLst>
                  <a:gd name="connsiteX0" fmla="*/ 0 w 95341"/>
                  <a:gd name="connsiteY0" fmla="*/ 0 h 108342"/>
                  <a:gd name="connsiteX1" fmla="*/ 95341 w 95341"/>
                  <a:gd name="connsiteY1" fmla="*/ 108342 h 108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341" h="108342">
                    <a:moveTo>
                      <a:pt x="0" y="0"/>
                    </a:moveTo>
                    <a:cubicBezTo>
                      <a:pt x="26724" y="48031"/>
                      <a:pt x="53449" y="96063"/>
                      <a:pt x="95341" y="108342"/>
                    </a:cubicBezTo>
                  </a:path>
                </a:pathLst>
              </a:custGeom>
              <a:noFill/>
              <a:ln w="6350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6" name="Textfeld 595"/>
              <p:cNvSpPr txBox="1"/>
              <p:nvPr/>
            </p:nvSpPr>
            <p:spPr>
              <a:xfrm>
                <a:off x="3917221" y="2422586"/>
                <a:ext cx="44448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l-GR" sz="1000" dirty="0" smtClean="0">
                    <a:latin typeface="Arial"/>
                    <a:cs typeface="Arial"/>
                  </a:rPr>
                  <a:t>β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7" name="Textfeld 596"/>
              <p:cNvSpPr txBox="1"/>
              <p:nvPr/>
            </p:nvSpPr>
            <p:spPr>
              <a:xfrm>
                <a:off x="4047693" y="1557257"/>
                <a:ext cx="432048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8" name="Textfeld 597"/>
              <p:cNvSpPr txBox="1"/>
              <p:nvPr/>
            </p:nvSpPr>
            <p:spPr>
              <a:xfrm>
                <a:off x="4499992" y="1628800"/>
                <a:ext cx="432048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j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9" name="Textfeld 598"/>
              <p:cNvSpPr txBox="1"/>
              <p:nvPr/>
            </p:nvSpPr>
            <p:spPr>
              <a:xfrm>
                <a:off x="2950619" y="2719933"/>
                <a:ext cx="408991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0" name="Textfeld 599"/>
              <p:cNvSpPr txBox="1"/>
              <p:nvPr/>
            </p:nvSpPr>
            <p:spPr>
              <a:xfrm>
                <a:off x="4558790" y="2843131"/>
                <a:ext cx="373250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en-US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*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1" name="Textfeld 600"/>
              <p:cNvSpPr txBox="1"/>
              <p:nvPr/>
            </p:nvSpPr>
            <p:spPr>
              <a:xfrm>
                <a:off x="2195736" y="1506345"/>
                <a:ext cx="321286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78" name="Textfeld 577"/>
            <p:cNvSpPr txBox="1"/>
            <p:nvPr/>
          </p:nvSpPr>
          <p:spPr>
            <a:xfrm>
              <a:off x="5114810" y="3686835"/>
              <a:ext cx="32128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en-US" sz="10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893666" y="878040"/>
            <a:ext cx="3118494" cy="4761593"/>
            <a:chOff x="2893666" y="878040"/>
            <a:chExt cx="3118494" cy="4761593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3071490" y="878040"/>
              <a:ext cx="2940670" cy="4761593"/>
              <a:chOff x="3071490" y="878040"/>
              <a:chExt cx="2940670" cy="4761593"/>
            </a:xfrm>
          </p:grpSpPr>
          <p:grpSp>
            <p:nvGrpSpPr>
              <p:cNvPr id="31" name="Gruppieren 30"/>
              <p:cNvGrpSpPr/>
              <p:nvPr/>
            </p:nvGrpSpPr>
            <p:grpSpPr>
              <a:xfrm>
                <a:off x="3071490" y="878040"/>
                <a:ext cx="2940670" cy="4761593"/>
                <a:chOff x="3071490" y="878040"/>
                <a:chExt cx="2940670" cy="4761593"/>
              </a:xfrm>
            </p:grpSpPr>
            <p:sp>
              <p:nvSpPr>
                <p:cNvPr id="8" name="Textfeld 7"/>
                <p:cNvSpPr txBox="1"/>
                <p:nvPr/>
              </p:nvSpPr>
              <p:spPr>
                <a:xfrm>
                  <a:off x="3557344" y="1765968"/>
                  <a:ext cx="870640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q</a:t>
                  </a:r>
                  <a:r>
                    <a:rPr lang="en-US" sz="1000" baseline="-25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hear</a:t>
                  </a:r>
                  <a:endParaRPr lang="en-US" sz="10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3" name="Textfeld 22"/>
                <p:cNvSpPr txBox="1"/>
                <p:nvPr/>
              </p:nvSpPr>
              <p:spPr>
                <a:xfrm>
                  <a:off x="5189662" y="1628800"/>
                  <a:ext cx="822498" cy="271065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ool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5" name="Textfeld 24"/>
                <p:cNvSpPr txBox="1"/>
                <p:nvPr/>
              </p:nvSpPr>
              <p:spPr>
                <a:xfrm>
                  <a:off x="4277426" y="902174"/>
                  <a:ext cx="822498" cy="271065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hip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47" name="Gerade Verbindung 46"/>
                <p:cNvCxnSpPr/>
                <p:nvPr/>
              </p:nvCxnSpPr>
              <p:spPr>
                <a:xfrm flipH="1">
                  <a:off x="4739975" y="1115197"/>
                  <a:ext cx="389679" cy="1346754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 Verbindung 47"/>
                <p:cNvCxnSpPr/>
                <p:nvPr/>
              </p:nvCxnSpPr>
              <p:spPr>
                <a:xfrm flipH="1">
                  <a:off x="4941104" y="2366600"/>
                  <a:ext cx="560701" cy="88132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Freihandform 42"/>
                <p:cNvSpPr/>
                <p:nvPr/>
              </p:nvSpPr>
              <p:spPr>
                <a:xfrm rot="20173894">
                  <a:off x="3906000" y="973852"/>
                  <a:ext cx="404103" cy="1054116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1" name="Gerade Verbindung 20"/>
                <p:cNvCxnSpPr/>
                <p:nvPr/>
              </p:nvCxnSpPr>
              <p:spPr>
                <a:xfrm>
                  <a:off x="4749071" y="2454732"/>
                  <a:ext cx="1031006" cy="0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61" name="Freihandform 60"/>
                <p:cNvSpPr/>
                <p:nvPr/>
              </p:nvSpPr>
              <p:spPr>
                <a:xfrm rot="20227854">
                  <a:off x="4515051" y="878040"/>
                  <a:ext cx="404103" cy="1364224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79" name="Gerade Verbindung 78"/>
                <p:cNvCxnSpPr/>
                <p:nvPr/>
              </p:nvCxnSpPr>
              <p:spPr>
                <a:xfrm>
                  <a:off x="3537692" y="2069466"/>
                  <a:ext cx="586127" cy="1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83" name="Gerade Verbindung 82"/>
                <p:cNvCxnSpPr/>
                <p:nvPr/>
              </p:nvCxnSpPr>
              <p:spPr>
                <a:xfrm>
                  <a:off x="4264257" y="1905630"/>
                  <a:ext cx="117709" cy="35353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Gerade Verbindung 119"/>
                <p:cNvCxnSpPr/>
                <p:nvPr/>
              </p:nvCxnSpPr>
              <p:spPr>
                <a:xfrm>
                  <a:off x="4649916" y="1818478"/>
                  <a:ext cx="117709" cy="176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Gerade Verbindung 120"/>
                <p:cNvCxnSpPr/>
                <p:nvPr/>
              </p:nvCxnSpPr>
              <p:spPr>
                <a:xfrm>
                  <a:off x="4458093" y="1936770"/>
                  <a:ext cx="117709" cy="35353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7" name="Ellipse 236"/>
                <p:cNvSpPr/>
                <p:nvPr/>
              </p:nvSpPr>
              <p:spPr>
                <a:xfrm rot="2300163">
                  <a:off x="4150720" y="2076437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38" name="Gerade Verbindung mit Pfeil 237"/>
                <p:cNvCxnSpPr/>
                <p:nvPr/>
              </p:nvCxnSpPr>
              <p:spPr>
                <a:xfrm rot="2300163" flipV="1">
                  <a:off x="4218892" y="199550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 Verbindung mit Pfeil 238"/>
                <p:cNvCxnSpPr/>
                <p:nvPr/>
              </p:nvCxnSpPr>
              <p:spPr>
                <a:xfrm rot="2300163">
                  <a:off x="4112656" y="2129848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 Verbindung mit Pfeil 239"/>
                <p:cNvCxnSpPr/>
                <p:nvPr/>
              </p:nvCxnSpPr>
              <p:spPr>
                <a:xfrm rot="7700163" flipV="1">
                  <a:off x="4236274" y="2117246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 Verbindung mit Pfeil 240"/>
                <p:cNvCxnSpPr/>
                <p:nvPr/>
              </p:nvCxnSpPr>
              <p:spPr>
                <a:xfrm rot="18500163" flipV="1">
                  <a:off x="4100015" y="2009496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 Verbindung mit Pfeil 241"/>
                <p:cNvCxnSpPr/>
                <p:nvPr/>
              </p:nvCxnSpPr>
              <p:spPr>
                <a:xfrm rot="5000163" flipV="1">
                  <a:off x="4254387" y="2053139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 Verbindung mit Pfeil 242"/>
                <p:cNvCxnSpPr/>
                <p:nvPr/>
              </p:nvCxnSpPr>
              <p:spPr>
                <a:xfrm rot="21200163">
                  <a:off x="4172980" y="215608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 Verbindung mit Pfeil 243"/>
                <p:cNvCxnSpPr/>
                <p:nvPr/>
              </p:nvCxnSpPr>
              <p:spPr>
                <a:xfrm rot="5000163" flipH="1">
                  <a:off x="4075438" y="2078952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 Verbindung mit Pfeil 244"/>
                <p:cNvCxnSpPr/>
                <p:nvPr/>
              </p:nvCxnSpPr>
              <p:spPr>
                <a:xfrm rot="21200163" flipH="1" flipV="1">
                  <a:off x="4154627" y="197425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7" name="Ellipse 246"/>
                <p:cNvSpPr/>
                <p:nvPr/>
              </p:nvSpPr>
              <p:spPr>
                <a:xfrm rot="2300163">
                  <a:off x="4325312" y="2179843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48" name="Gerade Verbindung mit Pfeil 247"/>
                <p:cNvCxnSpPr/>
                <p:nvPr/>
              </p:nvCxnSpPr>
              <p:spPr>
                <a:xfrm rot="2300163" flipV="1">
                  <a:off x="4393484" y="209891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" name="Gerade Verbindung mit Pfeil 248"/>
                <p:cNvCxnSpPr/>
                <p:nvPr/>
              </p:nvCxnSpPr>
              <p:spPr>
                <a:xfrm rot="2300163">
                  <a:off x="4287248" y="2233254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Gerade Verbindung mit Pfeil 249"/>
                <p:cNvCxnSpPr/>
                <p:nvPr/>
              </p:nvCxnSpPr>
              <p:spPr>
                <a:xfrm rot="7700163" flipV="1">
                  <a:off x="4410866" y="2220652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 Verbindung mit Pfeil 250"/>
                <p:cNvCxnSpPr/>
                <p:nvPr/>
              </p:nvCxnSpPr>
              <p:spPr>
                <a:xfrm rot="18500163" flipV="1">
                  <a:off x="4274607" y="2112902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 Verbindung mit Pfeil 251"/>
                <p:cNvCxnSpPr/>
                <p:nvPr/>
              </p:nvCxnSpPr>
              <p:spPr>
                <a:xfrm rot="5000163" flipV="1">
                  <a:off x="4428979" y="215654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 Verbindung mit Pfeil 252"/>
                <p:cNvCxnSpPr/>
                <p:nvPr/>
              </p:nvCxnSpPr>
              <p:spPr>
                <a:xfrm rot="21200163">
                  <a:off x="4347572" y="225949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 Verbindung mit Pfeil 253"/>
                <p:cNvCxnSpPr/>
                <p:nvPr/>
              </p:nvCxnSpPr>
              <p:spPr>
                <a:xfrm rot="5000163" flipH="1">
                  <a:off x="4250030" y="2182358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 Verbindung mit Pfeil 254"/>
                <p:cNvCxnSpPr/>
                <p:nvPr/>
              </p:nvCxnSpPr>
              <p:spPr>
                <a:xfrm rot="21200163" flipH="1" flipV="1">
                  <a:off x="4329219" y="2077657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7" name="Ellipse 256"/>
                <p:cNvSpPr/>
                <p:nvPr/>
              </p:nvSpPr>
              <p:spPr>
                <a:xfrm rot="2300163">
                  <a:off x="4692334" y="2410462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58" name="Gerade Verbindung mit Pfeil 257"/>
                <p:cNvCxnSpPr/>
                <p:nvPr/>
              </p:nvCxnSpPr>
              <p:spPr>
                <a:xfrm rot="2300163" flipV="1">
                  <a:off x="4760506" y="2329530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 Verbindung mit Pfeil 258"/>
                <p:cNvCxnSpPr/>
                <p:nvPr/>
              </p:nvCxnSpPr>
              <p:spPr>
                <a:xfrm rot="2300163">
                  <a:off x="4654270" y="2463873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Gerade Verbindung mit Pfeil 259"/>
                <p:cNvCxnSpPr/>
                <p:nvPr/>
              </p:nvCxnSpPr>
              <p:spPr>
                <a:xfrm rot="7700163" flipV="1">
                  <a:off x="4777888" y="2451271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 Verbindung mit Pfeil 260"/>
                <p:cNvCxnSpPr/>
                <p:nvPr/>
              </p:nvCxnSpPr>
              <p:spPr>
                <a:xfrm rot="18500163" flipV="1">
                  <a:off x="4641629" y="2343521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 Verbindung mit Pfeil 261"/>
                <p:cNvCxnSpPr/>
                <p:nvPr/>
              </p:nvCxnSpPr>
              <p:spPr>
                <a:xfrm rot="5000163" flipV="1">
                  <a:off x="4796001" y="2387164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 Verbindung mit Pfeil 262"/>
                <p:cNvCxnSpPr/>
                <p:nvPr/>
              </p:nvCxnSpPr>
              <p:spPr>
                <a:xfrm rot="21200163">
                  <a:off x="4714594" y="2490110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 Verbindung mit Pfeil 263"/>
                <p:cNvCxnSpPr/>
                <p:nvPr/>
              </p:nvCxnSpPr>
              <p:spPr>
                <a:xfrm rot="5000163" flipH="1">
                  <a:off x="4617052" y="2412977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 Verbindung mit Pfeil 264"/>
                <p:cNvCxnSpPr/>
                <p:nvPr/>
              </p:nvCxnSpPr>
              <p:spPr>
                <a:xfrm rot="21200163" flipH="1" flipV="1">
                  <a:off x="4696241" y="2308276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Gerade Verbindung 287"/>
                <p:cNvCxnSpPr/>
                <p:nvPr/>
              </p:nvCxnSpPr>
              <p:spPr>
                <a:xfrm>
                  <a:off x="4123818" y="2069467"/>
                  <a:ext cx="625253" cy="378501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1" name="Gerade Verbindung 300"/>
                <p:cNvCxnSpPr/>
                <p:nvPr/>
              </p:nvCxnSpPr>
              <p:spPr>
                <a:xfrm>
                  <a:off x="4659253" y="1976079"/>
                  <a:ext cx="117709" cy="35353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Gerade Verbindung 305"/>
                <p:cNvCxnSpPr/>
                <p:nvPr/>
              </p:nvCxnSpPr>
              <p:spPr>
                <a:xfrm>
                  <a:off x="4276924" y="1789671"/>
                  <a:ext cx="117709" cy="176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7" name="Gerade Verbindung 306"/>
                <p:cNvCxnSpPr/>
                <p:nvPr/>
              </p:nvCxnSpPr>
              <p:spPr>
                <a:xfrm>
                  <a:off x="4494482" y="1717341"/>
                  <a:ext cx="117709" cy="176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1" name="Gerade Verbindung 310"/>
                <p:cNvCxnSpPr/>
                <p:nvPr/>
              </p:nvCxnSpPr>
              <p:spPr>
                <a:xfrm flipV="1">
                  <a:off x="4475083" y="1565900"/>
                  <a:ext cx="117709" cy="1576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0" name="Gerade Verbindung 319"/>
                <p:cNvCxnSpPr/>
                <p:nvPr/>
              </p:nvCxnSpPr>
              <p:spPr>
                <a:xfrm>
                  <a:off x="3747509" y="2269464"/>
                  <a:ext cx="873" cy="1224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2" name="Gerade Verbindung 321"/>
                <p:cNvCxnSpPr/>
                <p:nvPr/>
              </p:nvCxnSpPr>
              <p:spPr>
                <a:xfrm>
                  <a:off x="3839552" y="2147529"/>
                  <a:ext cx="873" cy="1224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3" name="Gerade Verbindung 322"/>
                <p:cNvCxnSpPr/>
                <p:nvPr/>
              </p:nvCxnSpPr>
              <p:spPr>
                <a:xfrm>
                  <a:off x="3917654" y="2286888"/>
                  <a:ext cx="873" cy="122477"/>
                </a:xfrm>
                <a:prstGeom prst="line">
                  <a:avLst/>
                </a:prstGeom>
                <a:ln w="3175">
                  <a:solidFill>
                    <a:srgbClr val="C00000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6" name="Gerade Verbindung 325"/>
                <p:cNvCxnSpPr/>
                <p:nvPr/>
              </p:nvCxnSpPr>
              <p:spPr>
                <a:xfrm>
                  <a:off x="3213475" y="2455050"/>
                  <a:ext cx="1408358" cy="4750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333" name="Ellipse 332"/>
                <p:cNvSpPr/>
                <p:nvPr/>
              </p:nvSpPr>
              <p:spPr>
                <a:xfrm rot="2300163">
                  <a:off x="4508368" y="2291046"/>
                  <a:ext cx="33001" cy="39406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34" name="Gerade Verbindung mit Pfeil 333"/>
                <p:cNvCxnSpPr/>
                <p:nvPr/>
              </p:nvCxnSpPr>
              <p:spPr>
                <a:xfrm rot="2300163" flipV="1">
                  <a:off x="4583073" y="2199848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Gerade Verbindung mit Pfeil 334"/>
                <p:cNvCxnSpPr/>
                <p:nvPr/>
              </p:nvCxnSpPr>
              <p:spPr>
                <a:xfrm rot="2300163">
                  <a:off x="4463363" y="2351232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Gerade Verbindung mit Pfeil 335"/>
                <p:cNvCxnSpPr/>
                <p:nvPr/>
              </p:nvCxnSpPr>
              <p:spPr>
                <a:xfrm rot="7700163" flipV="1">
                  <a:off x="4593828" y="2334047"/>
                  <a:ext cx="0" cy="6246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Gerade Verbindung mit Pfeil 336"/>
                <p:cNvCxnSpPr/>
                <p:nvPr/>
              </p:nvCxnSpPr>
              <p:spPr>
                <a:xfrm rot="18500163" flipV="1">
                  <a:off x="4457719" y="2226415"/>
                  <a:ext cx="0" cy="6246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Gerade Verbindung mit Pfeil 337"/>
                <p:cNvCxnSpPr/>
                <p:nvPr/>
              </p:nvCxnSpPr>
              <p:spPr>
                <a:xfrm rot="5000163" flipV="1">
                  <a:off x="4616690" y="2259746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Gerade Verbindung mit Pfeil 338"/>
                <p:cNvCxnSpPr/>
                <p:nvPr/>
              </p:nvCxnSpPr>
              <p:spPr>
                <a:xfrm rot="21200163">
                  <a:off x="4524957" y="2375750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Gerade Verbindung mit Pfeil 339"/>
                <p:cNvCxnSpPr/>
                <p:nvPr/>
              </p:nvCxnSpPr>
              <p:spPr>
                <a:xfrm rot="5000163" flipH="1">
                  <a:off x="4427522" y="2298701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Gerade Verbindung mit Pfeil 340"/>
                <p:cNvCxnSpPr/>
                <p:nvPr/>
              </p:nvCxnSpPr>
              <p:spPr>
                <a:xfrm rot="21200163" flipH="1" flipV="1">
                  <a:off x="4517038" y="2180944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Gerade Verbindung 342"/>
                <p:cNvCxnSpPr/>
                <p:nvPr/>
              </p:nvCxnSpPr>
              <p:spPr>
                <a:xfrm>
                  <a:off x="3978235" y="2111613"/>
                  <a:ext cx="873" cy="12247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7" name="Gerade Verbindung 346"/>
                <p:cNvCxnSpPr/>
                <p:nvPr/>
              </p:nvCxnSpPr>
              <p:spPr>
                <a:xfrm>
                  <a:off x="4631362" y="2135415"/>
                  <a:ext cx="117709" cy="74621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8" name="Gerade Verbindung 347"/>
                <p:cNvCxnSpPr/>
                <p:nvPr/>
              </p:nvCxnSpPr>
              <p:spPr>
                <a:xfrm>
                  <a:off x="4280503" y="1994684"/>
                  <a:ext cx="117709" cy="74621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9" name="Gerade Verbindung 348"/>
                <p:cNvCxnSpPr/>
                <p:nvPr/>
              </p:nvCxnSpPr>
              <p:spPr>
                <a:xfrm>
                  <a:off x="4253473" y="2332904"/>
                  <a:ext cx="117709" cy="74621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1" name="Gerade Verbindung 350"/>
                <p:cNvCxnSpPr/>
                <p:nvPr/>
              </p:nvCxnSpPr>
              <p:spPr>
                <a:xfrm>
                  <a:off x="4075203" y="2205587"/>
                  <a:ext cx="117709" cy="74621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2" name="Gerade Verbindung 351"/>
                <p:cNvCxnSpPr/>
                <p:nvPr/>
              </p:nvCxnSpPr>
              <p:spPr>
                <a:xfrm>
                  <a:off x="4103478" y="2279381"/>
                  <a:ext cx="68232" cy="11278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6" name="Gerade Verbindung 355"/>
                <p:cNvCxnSpPr/>
                <p:nvPr/>
              </p:nvCxnSpPr>
              <p:spPr>
                <a:xfrm rot="16200000" flipH="1" flipV="1">
                  <a:off x="4752817" y="2580779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7" name="Gerade Verbindung 356"/>
                <p:cNvCxnSpPr/>
                <p:nvPr/>
              </p:nvCxnSpPr>
              <p:spPr>
                <a:xfrm rot="16200000" flipH="1" flipV="1">
                  <a:off x="4901007" y="2704980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8" name="Gerade Verbindung 357"/>
                <p:cNvCxnSpPr/>
                <p:nvPr/>
              </p:nvCxnSpPr>
              <p:spPr>
                <a:xfrm rot="16200000" flipH="1" flipV="1">
                  <a:off x="5104521" y="2943065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Gerade Verbindung 358"/>
                <p:cNvCxnSpPr/>
                <p:nvPr/>
              </p:nvCxnSpPr>
              <p:spPr>
                <a:xfrm rot="16200000" flipH="1" flipV="1">
                  <a:off x="5354037" y="2694433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0" name="Gerade Verbindung 359"/>
                <p:cNvCxnSpPr/>
                <p:nvPr/>
              </p:nvCxnSpPr>
              <p:spPr>
                <a:xfrm rot="16200000" flipH="1" flipV="1">
                  <a:off x="3543022" y="2581703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3" name="Gerade Verbindung 362"/>
                <p:cNvCxnSpPr/>
                <p:nvPr/>
              </p:nvCxnSpPr>
              <p:spPr>
                <a:xfrm rot="16200000" flipH="1" flipV="1">
                  <a:off x="3848300" y="2922665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4" name="Gerade Verbindung 363"/>
                <p:cNvCxnSpPr/>
                <p:nvPr/>
              </p:nvCxnSpPr>
              <p:spPr>
                <a:xfrm rot="16200000" flipH="1" flipV="1">
                  <a:off x="3897816" y="2691250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5" name="Gerade Verbindung 364"/>
                <p:cNvCxnSpPr/>
                <p:nvPr/>
              </p:nvCxnSpPr>
              <p:spPr>
                <a:xfrm rot="16200000" flipH="1" flipV="1">
                  <a:off x="4063039" y="2528002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6" name="Gerade Verbindung 365"/>
                <p:cNvCxnSpPr/>
                <p:nvPr/>
              </p:nvCxnSpPr>
              <p:spPr>
                <a:xfrm rot="16200000" flipH="1" flipV="1">
                  <a:off x="4143545" y="2582628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7" name="Gerade Verbindung 366"/>
                <p:cNvCxnSpPr/>
                <p:nvPr/>
              </p:nvCxnSpPr>
              <p:spPr>
                <a:xfrm rot="16200000" flipH="1" flipV="1">
                  <a:off x="4236358" y="2698386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8" name="Gerade Verbindung 367"/>
                <p:cNvCxnSpPr/>
                <p:nvPr/>
              </p:nvCxnSpPr>
              <p:spPr>
                <a:xfrm rot="16200000" flipH="1" flipV="1">
                  <a:off x="4345840" y="2808087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9" name="Gerade Verbindung 368"/>
                <p:cNvCxnSpPr/>
                <p:nvPr/>
              </p:nvCxnSpPr>
              <p:spPr>
                <a:xfrm rot="16200000" flipH="1" flipV="1">
                  <a:off x="4385148" y="2474301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Gerade Verbindung 369"/>
                <p:cNvCxnSpPr/>
                <p:nvPr/>
              </p:nvCxnSpPr>
              <p:spPr>
                <a:xfrm rot="16200000" flipH="1" flipV="1">
                  <a:off x="4571949" y="2921663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Gerade Verbindung 371"/>
                <p:cNvCxnSpPr/>
                <p:nvPr/>
              </p:nvCxnSpPr>
              <p:spPr>
                <a:xfrm rot="16200000" flipH="1" flipV="1">
                  <a:off x="4553540" y="2704056"/>
                  <a:ext cx="924" cy="115705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10" name="Ellipse 409"/>
                <p:cNvSpPr/>
                <p:nvPr/>
              </p:nvSpPr>
              <p:spPr>
                <a:xfrm>
                  <a:off x="3814673" y="2148567"/>
                  <a:ext cx="416337" cy="416337"/>
                </a:xfrm>
                <a:prstGeom prst="ellipse">
                  <a:avLst/>
                </a:prstGeom>
                <a:noFill/>
                <a:ln w="15875">
                  <a:solidFill>
                    <a:schemeClr val="tx1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499" name="Gerade Verbindung 498"/>
                <p:cNvCxnSpPr>
                  <a:stCxn id="410" idx="2"/>
                </p:cNvCxnSpPr>
                <p:nvPr/>
              </p:nvCxnSpPr>
              <p:spPr>
                <a:xfrm flipH="1">
                  <a:off x="3131841" y="2356736"/>
                  <a:ext cx="682832" cy="1676199"/>
                </a:xfrm>
                <a:prstGeom prst="line">
                  <a:avLst/>
                </a:prstGeom>
                <a:noFill/>
                <a:ln w="15875">
                  <a:solidFill>
                    <a:schemeClr val="tx1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501" name="Gerade Verbindung 500"/>
                <p:cNvCxnSpPr>
                  <a:stCxn id="410" idx="6"/>
                  <a:endCxn id="497" idx="7"/>
                </p:cNvCxnSpPr>
                <p:nvPr/>
              </p:nvCxnSpPr>
              <p:spPr>
                <a:xfrm>
                  <a:off x="4231010" y="2356736"/>
                  <a:ext cx="1007969" cy="1121577"/>
                </a:xfrm>
                <a:prstGeom prst="line">
                  <a:avLst/>
                </a:prstGeom>
                <a:noFill/>
                <a:ln w="15875">
                  <a:solidFill>
                    <a:schemeClr val="tx1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384" name="Textfeld 383"/>
                <p:cNvSpPr txBox="1"/>
                <p:nvPr/>
              </p:nvSpPr>
              <p:spPr>
                <a:xfrm>
                  <a:off x="4788024" y="4829428"/>
                  <a:ext cx="65778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b="1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anel </a:t>
                  </a:r>
                  <a:r>
                    <a:rPr lang="en-US" sz="1000" b="1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</a:t>
                  </a:r>
                  <a:r>
                    <a:rPr lang="en-US" sz="1000" b="1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j</a:t>
                  </a:r>
                  <a:endParaRPr lang="en-US" sz="1000" b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5" name="Textfeld 384"/>
                <p:cNvSpPr txBox="1"/>
                <p:nvPr/>
              </p:nvSpPr>
              <p:spPr>
                <a:xfrm>
                  <a:off x="4941104" y="4216852"/>
                  <a:ext cx="30234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err="1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</a:t>
                  </a:r>
                  <a:r>
                    <a:rPr lang="en-US" sz="1000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j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6" name="Textfeld 385"/>
                <p:cNvSpPr txBox="1"/>
                <p:nvPr/>
              </p:nvSpPr>
              <p:spPr>
                <a:xfrm>
                  <a:off x="3692020" y="4829429"/>
                  <a:ext cx="643758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b="1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anel P</a:t>
                  </a:r>
                  <a:r>
                    <a:rPr lang="en-US" sz="1000" b="1" baseline="-25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</a:t>
                  </a:r>
                </a:p>
              </p:txBody>
            </p:sp>
            <p:sp>
              <p:nvSpPr>
                <p:cNvPr id="387" name="Textfeld 386"/>
                <p:cNvSpPr txBox="1"/>
                <p:nvPr/>
              </p:nvSpPr>
              <p:spPr>
                <a:xfrm>
                  <a:off x="5109775" y="4561875"/>
                  <a:ext cx="395688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K</a:t>
                  </a:r>
                  <a:r>
                    <a:rPr lang="en-US" sz="1000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j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8" name="Textfeld 387"/>
                <p:cNvSpPr txBox="1"/>
                <p:nvPr/>
              </p:nvSpPr>
              <p:spPr>
                <a:xfrm>
                  <a:off x="4391456" y="4546752"/>
                  <a:ext cx="2987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</a:t>
                  </a:r>
                  <a:r>
                    <a:rPr lang="en-US" sz="1000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j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9" name="Textfeld 388"/>
                <p:cNvSpPr txBox="1"/>
                <p:nvPr/>
              </p:nvSpPr>
              <p:spPr>
                <a:xfrm>
                  <a:off x="4442607" y="3413780"/>
                  <a:ext cx="412354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K</a:t>
                  </a:r>
                  <a:r>
                    <a:rPr lang="en-US" sz="1000" baseline="-25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j+1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90" name="Textfeld 389"/>
                <p:cNvSpPr txBox="1"/>
                <p:nvPr/>
              </p:nvSpPr>
              <p:spPr>
                <a:xfrm>
                  <a:off x="4152392" y="3943060"/>
                  <a:ext cx="491639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</a:t>
                  </a:r>
                  <a:r>
                    <a:rPr lang="en-US" sz="1000" baseline="-25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j+1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91" name="Textfeld 390"/>
                <p:cNvSpPr txBox="1"/>
                <p:nvPr/>
              </p:nvSpPr>
              <p:spPr>
                <a:xfrm>
                  <a:off x="3850720" y="4602034"/>
                  <a:ext cx="318419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K</a:t>
                  </a:r>
                  <a:r>
                    <a:rPr lang="en-US" sz="1000" baseline="-25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</a:t>
                  </a:r>
                </a:p>
              </p:txBody>
            </p:sp>
            <p:sp>
              <p:nvSpPr>
                <p:cNvPr id="392" name="Textfeld 391"/>
                <p:cNvSpPr txBox="1"/>
                <p:nvPr/>
              </p:nvSpPr>
              <p:spPr>
                <a:xfrm>
                  <a:off x="3574608" y="3772169"/>
                  <a:ext cx="428357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K</a:t>
                  </a:r>
                  <a:r>
                    <a:rPr lang="en-US" sz="1000" baseline="-25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+1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505" name="Gruppieren 504"/>
                <p:cNvGrpSpPr/>
                <p:nvPr/>
              </p:nvGrpSpPr>
              <p:grpSpPr>
                <a:xfrm rot="15397364">
                  <a:off x="3736254" y="3599176"/>
                  <a:ext cx="1221601" cy="1420037"/>
                  <a:chOff x="3601389" y="3707319"/>
                  <a:chExt cx="1221601" cy="1420037"/>
                </a:xfrm>
              </p:grpSpPr>
              <p:grpSp>
                <p:nvGrpSpPr>
                  <p:cNvPr id="380" name="Gruppieren 379"/>
                  <p:cNvGrpSpPr/>
                  <p:nvPr/>
                </p:nvGrpSpPr>
                <p:grpSpPr>
                  <a:xfrm rot="20890269">
                    <a:off x="3601389" y="4573271"/>
                    <a:ext cx="1221601" cy="432048"/>
                    <a:chOff x="3222573" y="2757124"/>
                    <a:chExt cx="1368432" cy="432048"/>
                  </a:xfrm>
                </p:grpSpPr>
                <p:sp>
                  <p:nvSpPr>
                    <p:cNvPr id="402" name="Rechteck 401"/>
                    <p:cNvSpPr/>
                    <p:nvPr/>
                  </p:nvSpPr>
                  <p:spPr>
                    <a:xfrm>
                      <a:off x="3222573" y="2973148"/>
                      <a:ext cx="842392" cy="144016"/>
                    </a:xfrm>
                    <a:prstGeom prst="rect">
                      <a:avLst/>
                    </a:prstGeom>
                    <a:pattFill prst="ltVert">
                      <a:fgClr>
                        <a:srgbClr val="C00000"/>
                      </a:fgClr>
                      <a:bgClr>
                        <a:schemeClr val="bg1"/>
                      </a:bgClr>
                    </a:pattFill>
                    <a:ln w="0"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cxnSp>
                  <p:nvCxnSpPr>
                    <p:cNvPr id="403" name="Gerade Verbindung mit Pfeil 402"/>
                    <p:cNvCxnSpPr/>
                    <p:nvPr/>
                  </p:nvCxnSpPr>
                  <p:spPr>
                    <a:xfrm flipV="1">
                      <a:off x="3222573" y="2757124"/>
                      <a:ext cx="0" cy="36004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04" name="Gerade Verbindung mit Pfeil 403"/>
                    <p:cNvCxnSpPr/>
                    <p:nvPr/>
                  </p:nvCxnSpPr>
                  <p:spPr>
                    <a:xfrm>
                      <a:off x="3222573" y="3117164"/>
                      <a:ext cx="1368432" cy="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05" name="Gerade Verbindung 404"/>
                    <p:cNvCxnSpPr/>
                    <p:nvPr/>
                  </p:nvCxnSpPr>
                  <p:spPr>
                    <a:xfrm>
                      <a:off x="3222573" y="3117164"/>
                      <a:ext cx="842392" cy="0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  <a:headEnd type="oval"/>
                      <a:tailEnd type="oval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406" name="Ellipse 405"/>
                    <p:cNvSpPr/>
                    <p:nvPr/>
                  </p:nvSpPr>
                  <p:spPr>
                    <a:xfrm>
                      <a:off x="3571761" y="3045156"/>
                      <a:ext cx="144016" cy="144016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cxnSp>
                <p:nvCxnSpPr>
                  <p:cNvPr id="381" name="Gerade Verbindung 380"/>
                  <p:cNvCxnSpPr/>
                  <p:nvPr/>
                </p:nvCxnSpPr>
                <p:spPr>
                  <a:xfrm rot="6202636" flipV="1">
                    <a:off x="4257755" y="3522536"/>
                    <a:ext cx="0" cy="658974"/>
                  </a:xfrm>
                  <a:prstGeom prst="line">
                    <a:avLst/>
                  </a:prstGeom>
                  <a:ln>
                    <a:solidFill>
                      <a:srgbClr val="C00000"/>
                    </a:solidFill>
                    <a:headEnd type="oval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2" name="Gerade Verbindung mit Pfeil 381"/>
                  <p:cNvCxnSpPr/>
                  <p:nvPr/>
                </p:nvCxnSpPr>
                <p:spPr>
                  <a:xfrm rot="6202636" flipH="1" flipV="1">
                    <a:off x="3299699" y="4298662"/>
                    <a:ext cx="1322923" cy="33446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3" name="Gerade Verbindung mit Pfeil 382"/>
                  <p:cNvCxnSpPr/>
                  <p:nvPr/>
                </p:nvCxnSpPr>
                <p:spPr>
                  <a:xfrm rot="6202636" flipH="1">
                    <a:off x="3843354" y="4208311"/>
                    <a:ext cx="983484" cy="3351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sys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3" name="Gerade Verbindung mit Pfeil 392"/>
                  <p:cNvCxnSpPr/>
                  <p:nvPr/>
                </p:nvCxnSpPr>
                <p:spPr>
                  <a:xfrm rot="6202636" flipH="1">
                    <a:off x="4189869" y="3725984"/>
                    <a:ext cx="131638" cy="94308"/>
                  </a:xfrm>
                  <a:prstGeom prst="straightConnector1">
                    <a:avLst/>
                  </a:prstGeom>
                  <a:ln w="25400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ysDot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4" name="Gerade Verbindung mit Pfeil 393"/>
                  <p:cNvCxnSpPr/>
                  <p:nvPr/>
                </p:nvCxnSpPr>
                <p:spPr>
                  <a:xfrm rot="4754801" flipH="1" flipV="1">
                    <a:off x="4395341" y="3684539"/>
                    <a:ext cx="48954" cy="240568"/>
                  </a:xfrm>
                  <a:prstGeom prst="straightConnector1">
                    <a:avLst/>
                  </a:prstGeom>
                  <a:ln w="25400"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95" name="Freihandform 394"/>
                <p:cNvSpPr/>
                <p:nvPr/>
              </p:nvSpPr>
              <p:spPr>
                <a:xfrm rot="13231640">
                  <a:off x="4099829" y="4283104"/>
                  <a:ext cx="218063" cy="183682"/>
                </a:xfrm>
                <a:custGeom>
                  <a:avLst/>
                  <a:gdLst>
                    <a:gd name="connsiteX0" fmla="*/ 0 w 95341"/>
                    <a:gd name="connsiteY0" fmla="*/ 0 h 108342"/>
                    <a:gd name="connsiteX1" fmla="*/ 95341 w 95341"/>
                    <a:gd name="connsiteY1" fmla="*/ 108342 h 108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341" h="108342">
                      <a:moveTo>
                        <a:pt x="0" y="0"/>
                      </a:moveTo>
                      <a:cubicBezTo>
                        <a:pt x="26724" y="48031"/>
                        <a:pt x="53449" y="96063"/>
                        <a:pt x="95341" y="108342"/>
                      </a:cubicBezTo>
                    </a:path>
                  </a:pathLst>
                </a:custGeom>
                <a:noFill/>
                <a:ln w="6350">
                  <a:solidFill>
                    <a:schemeClr val="tx1"/>
                  </a:solidFill>
                  <a:headEnd type="triangle"/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6" name="Textfeld 395"/>
                <p:cNvSpPr txBox="1"/>
                <p:nvPr/>
              </p:nvSpPr>
              <p:spPr>
                <a:xfrm>
                  <a:off x="4284272" y="4264709"/>
                  <a:ext cx="39679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l-GR" sz="1000" dirty="0" smtClean="0">
                      <a:latin typeface="Arial"/>
                      <a:cs typeface="Arial"/>
                    </a:rPr>
                    <a:t>β</a:t>
                  </a:r>
                  <a:r>
                    <a:rPr lang="en-US" sz="1000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j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97" name="Textfeld 396"/>
                <p:cNvSpPr txBox="1"/>
                <p:nvPr/>
              </p:nvSpPr>
              <p:spPr>
                <a:xfrm>
                  <a:off x="3374476" y="4419794"/>
                  <a:ext cx="456257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b="1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  <a:r>
                    <a:rPr lang="en-US" sz="1000" b="1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j</a:t>
                  </a:r>
                  <a:r>
                    <a:rPr lang="en-US" sz="1050" b="1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**</a:t>
                  </a:r>
                  <a:endParaRPr lang="en-US" sz="1000" b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98" name="Textfeld 397"/>
                <p:cNvSpPr txBox="1"/>
                <p:nvPr/>
              </p:nvSpPr>
              <p:spPr>
                <a:xfrm>
                  <a:off x="3344847" y="3991970"/>
                  <a:ext cx="385690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err="1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u</a:t>
                  </a:r>
                  <a:r>
                    <a:rPr lang="en-US" sz="1000" baseline="-25000" dirty="0" err="1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ij</a:t>
                  </a:r>
                  <a:r>
                    <a:rPr lang="en-US" sz="105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*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99" name="Textfeld 398"/>
                <p:cNvSpPr txBox="1"/>
                <p:nvPr/>
              </p:nvSpPr>
              <p:spPr>
                <a:xfrm>
                  <a:off x="4552440" y="4849433"/>
                  <a:ext cx="365107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y</a:t>
                  </a:r>
                  <a:r>
                    <a:rPr lang="en-US" sz="105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*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0" name="Textfeld 399"/>
                <p:cNvSpPr txBox="1"/>
                <p:nvPr/>
              </p:nvSpPr>
              <p:spPr>
                <a:xfrm>
                  <a:off x="4270681" y="3531811"/>
                  <a:ext cx="333201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x</a:t>
                  </a:r>
                  <a:r>
                    <a:rPr lang="en-US" sz="105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*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97" name="Ellipse 496"/>
                <p:cNvSpPr/>
                <p:nvPr/>
              </p:nvSpPr>
              <p:spPr>
                <a:xfrm>
                  <a:off x="3077659" y="3107489"/>
                  <a:ext cx="2532144" cy="2532144"/>
                </a:xfrm>
                <a:prstGeom prst="ellipse">
                  <a:avLst/>
                </a:prstGeom>
                <a:noFill/>
                <a:ln w="15875">
                  <a:solidFill>
                    <a:schemeClr val="tx1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545" name="Gruppieren 544"/>
                <p:cNvGrpSpPr/>
                <p:nvPr/>
              </p:nvGrpSpPr>
              <p:grpSpPr>
                <a:xfrm>
                  <a:off x="4139952" y="3356992"/>
                  <a:ext cx="1404017" cy="1306044"/>
                  <a:chOff x="3923234" y="3792894"/>
                  <a:chExt cx="1404017" cy="1306044"/>
                </a:xfrm>
              </p:grpSpPr>
              <p:cxnSp>
                <p:nvCxnSpPr>
                  <p:cNvPr id="530" name="Gerade Verbindung mit Pfeil 529"/>
                  <p:cNvCxnSpPr/>
                  <p:nvPr/>
                </p:nvCxnSpPr>
                <p:spPr>
                  <a:xfrm flipV="1">
                    <a:off x="3923234" y="37928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7" name="Gerade Verbindung mit Pfeil 536"/>
                  <p:cNvCxnSpPr/>
                  <p:nvPr/>
                </p:nvCxnSpPr>
                <p:spPr>
                  <a:xfrm flipV="1">
                    <a:off x="4075634" y="39452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8" name="Gerade Verbindung mit Pfeil 537"/>
                  <p:cNvCxnSpPr/>
                  <p:nvPr/>
                </p:nvCxnSpPr>
                <p:spPr>
                  <a:xfrm flipV="1">
                    <a:off x="4228034" y="40976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9" name="Gerade Verbindung mit Pfeil 538"/>
                  <p:cNvCxnSpPr/>
                  <p:nvPr/>
                </p:nvCxnSpPr>
                <p:spPr>
                  <a:xfrm flipV="1">
                    <a:off x="4380434" y="42500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0" name="Gerade Verbindung mit Pfeil 539"/>
                  <p:cNvCxnSpPr/>
                  <p:nvPr/>
                </p:nvCxnSpPr>
                <p:spPr>
                  <a:xfrm flipV="1">
                    <a:off x="4532834" y="44024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1" name="Gerade Verbindung mit Pfeil 540"/>
                  <p:cNvCxnSpPr/>
                  <p:nvPr/>
                </p:nvCxnSpPr>
                <p:spPr>
                  <a:xfrm flipV="1">
                    <a:off x="4685234" y="45548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2" name="Gerade Verbindung mit Pfeil 541"/>
                  <p:cNvCxnSpPr/>
                  <p:nvPr/>
                </p:nvCxnSpPr>
                <p:spPr>
                  <a:xfrm flipV="1">
                    <a:off x="4837634" y="47072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3" name="Gerade Verbindung mit Pfeil 542"/>
                  <p:cNvCxnSpPr/>
                  <p:nvPr/>
                </p:nvCxnSpPr>
                <p:spPr>
                  <a:xfrm flipV="1">
                    <a:off x="4990034" y="48596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4" name="Gerade Verbindung mit Pfeil 543"/>
                  <p:cNvCxnSpPr/>
                  <p:nvPr/>
                </p:nvCxnSpPr>
                <p:spPr>
                  <a:xfrm flipV="1">
                    <a:off x="5142434" y="50120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56" name="Gruppieren 555"/>
                <p:cNvGrpSpPr/>
                <p:nvPr/>
              </p:nvGrpSpPr>
              <p:grpSpPr>
                <a:xfrm rot="1123605">
                  <a:off x="3494027" y="3751890"/>
                  <a:ext cx="1404017" cy="1306044"/>
                  <a:chOff x="3923234" y="3792894"/>
                  <a:chExt cx="1404017" cy="1306044"/>
                </a:xfrm>
              </p:grpSpPr>
              <p:cxnSp>
                <p:nvCxnSpPr>
                  <p:cNvPr id="557" name="Gerade Verbindung mit Pfeil 556"/>
                  <p:cNvCxnSpPr/>
                  <p:nvPr/>
                </p:nvCxnSpPr>
                <p:spPr>
                  <a:xfrm flipV="1">
                    <a:off x="3923234" y="37928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8" name="Gerade Verbindung mit Pfeil 557"/>
                  <p:cNvCxnSpPr/>
                  <p:nvPr/>
                </p:nvCxnSpPr>
                <p:spPr>
                  <a:xfrm flipV="1">
                    <a:off x="4075634" y="39452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9" name="Gerade Verbindung mit Pfeil 558"/>
                  <p:cNvCxnSpPr/>
                  <p:nvPr/>
                </p:nvCxnSpPr>
                <p:spPr>
                  <a:xfrm flipV="1">
                    <a:off x="4228034" y="40976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0" name="Gerade Verbindung mit Pfeil 559"/>
                  <p:cNvCxnSpPr/>
                  <p:nvPr/>
                </p:nvCxnSpPr>
                <p:spPr>
                  <a:xfrm flipV="1">
                    <a:off x="4380434" y="42500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1" name="Gerade Verbindung mit Pfeil 560"/>
                  <p:cNvCxnSpPr/>
                  <p:nvPr/>
                </p:nvCxnSpPr>
                <p:spPr>
                  <a:xfrm flipV="1">
                    <a:off x="4532834" y="44024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2" name="Gerade Verbindung mit Pfeil 561"/>
                  <p:cNvCxnSpPr/>
                  <p:nvPr/>
                </p:nvCxnSpPr>
                <p:spPr>
                  <a:xfrm flipV="1">
                    <a:off x="4685234" y="45548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3" name="Gerade Verbindung mit Pfeil 562"/>
                  <p:cNvCxnSpPr/>
                  <p:nvPr/>
                </p:nvCxnSpPr>
                <p:spPr>
                  <a:xfrm flipV="1">
                    <a:off x="4837634" y="47072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4" name="Gerade Verbindung mit Pfeil 563"/>
                  <p:cNvCxnSpPr/>
                  <p:nvPr/>
                </p:nvCxnSpPr>
                <p:spPr>
                  <a:xfrm flipV="1">
                    <a:off x="4990034" y="48596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5" name="Gerade Verbindung mit Pfeil 564"/>
                  <p:cNvCxnSpPr/>
                  <p:nvPr/>
                </p:nvCxnSpPr>
                <p:spPr>
                  <a:xfrm flipV="1">
                    <a:off x="5142434" y="5012094"/>
                    <a:ext cx="184817" cy="86844"/>
                  </a:xfrm>
                  <a:prstGeom prst="straightConnector1">
                    <a:avLst/>
                  </a:prstGeom>
                  <a:ln>
                    <a:solidFill>
                      <a:schemeClr val="accent1">
                        <a:shade val="95000"/>
                        <a:satMod val="105000"/>
                        <a:alpha val="60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68" name="Gerade Verbindung mit Pfeil 567"/>
                <p:cNvCxnSpPr/>
                <p:nvPr/>
              </p:nvCxnSpPr>
              <p:spPr>
                <a:xfrm rot="2060983" flipV="1">
                  <a:off x="3291918" y="3829398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9" name="Gerade Verbindung mit Pfeil 568"/>
                <p:cNvCxnSpPr/>
                <p:nvPr/>
              </p:nvCxnSpPr>
              <p:spPr>
                <a:xfrm rot="2060983" flipV="1">
                  <a:off x="3331750" y="4041212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0" name="Gerade Verbindung mit Pfeil 569"/>
                <p:cNvCxnSpPr/>
                <p:nvPr/>
              </p:nvCxnSpPr>
              <p:spPr>
                <a:xfrm rot="2060983" flipV="1">
                  <a:off x="3371583" y="4253025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Gerade Verbindung mit Pfeil 570"/>
                <p:cNvCxnSpPr/>
                <p:nvPr/>
              </p:nvCxnSpPr>
              <p:spPr>
                <a:xfrm rot="2060983" flipV="1">
                  <a:off x="3411415" y="4464838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2" name="Gerade Verbindung mit Pfeil 571"/>
                <p:cNvCxnSpPr/>
                <p:nvPr/>
              </p:nvCxnSpPr>
              <p:spPr>
                <a:xfrm rot="2060983" flipV="1">
                  <a:off x="3451247" y="4676652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3" name="Gerade Verbindung mit Pfeil 572"/>
                <p:cNvCxnSpPr/>
                <p:nvPr/>
              </p:nvCxnSpPr>
              <p:spPr>
                <a:xfrm rot="2060983" flipV="1">
                  <a:off x="3491079" y="4888465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4" name="Gerade Verbindung mit Pfeil 573"/>
                <p:cNvCxnSpPr/>
                <p:nvPr/>
              </p:nvCxnSpPr>
              <p:spPr>
                <a:xfrm rot="2060983" flipV="1">
                  <a:off x="3530912" y="5100278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5" name="Gerade Verbindung mit Pfeil 574"/>
                <p:cNvCxnSpPr/>
                <p:nvPr/>
              </p:nvCxnSpPr>
              <p:spPr>
                <a:xfrm rot="2060983" flipV="1">
                  <a:off x="3570744" y="5312092"/>
                  <a:ext cx="184817" cy="86844"/>
                </a:xfrm>
                <a:prstGeom prst="straightConnector1">
                  <a:avLst/>
                </a:prstGeom>
                <a:ln>
                  <a:solidFill>
                    <a:schemeClr val="accent1">
                      <a:shade val="95000"/>
                      <a:satMod val="105000"/>
                      <a:alpha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0" name="Gerade Verbindung mit Pfeil 609"/>
                <p:cNvCxnSpPr/>
                <p:nvPr/>
              </p:nvCxnSpPr>
              <p:spPr>
                <a:xfrm flipV="1">
                  <a:off x="3288023" y="1106066"/>
                  <a:ext cx="0" cy="55007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2" name="Gerade Verbindung mit Pfeil 611"/>
                <p:cNvCxnSpPr/>
                <p:nvPr/>
              </p:nvCxnSpPr>
              <p:spPr>
                <a:xfrm flipV="1">
                  <a:off x="3288023" y="1656136"/>
                  <a:ext cx="578620" cy="867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6" name="Textfeld 615"/>
                <p:cNvSpPr txBox="1"/>
                <p:nvPr/>
              </p:nvSpPr>
              <p:spPr>
                <a:xfrm>
                  <a:off x="3071490" y="950628"/>
                  <a:ext cx="286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y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17" name="Textfeld 616"/>
                <p:cNvSpPr txBox="1"/>
                <p:nvPr/>
              </p:nvSpPr>
              <p:spPr>
                <a:xfrm>
                  <a:off x="3635896" y="1628800"/>
                  <a:ext cx="308171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x</a:t>
                  </a:r>
                  <a:endParaRPr lang="en-US" sz="10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24" name="Ellipse 623"/>
                <p:cNvSpPr/>
                <p:nvPr/>
              </p:nvSpPr>
              <p:spPr>
                <a:xfrm rot="2300163">
                  <a:off x="4828487" y="2427266"/>
                  <a:ext cx="51666" cy="56330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25" name="Gerade Verbindung mit Pfeil 624"/>
                <p:cNvCxnSpPr/>
                <p:nvPr/>
              </p:nvCxnSpPr>
              <p:spPr>
                <a:xfrm rot="2300163" flipV="1">
                  <a:off x="4937522" y="2296901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6" name="Gerade Verbindung mit Pfeil 625"/>
                <p:cNvCxnSpPr/>
                <p:nvPr/>
              </p:nvCxnSpPr>
              <p:spPr>
                <a:xfrm rot="2300163">
                  <a:off x="4766400" y="2513299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7" name="Gerade Verbindung mit Pfeil 626"/>
                <p:cNvCxnSpPr/>
                <p:nvPr/>
              </p:nvCxnSpPr>
              <p:spPr>
                <a:xfrm rot="7700163" flipV="1">
                  <a:off x="4962285" y="2491907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8" name="Gerade Verbindung mit Pfeil 627"/>
                <p:cNvCxnSpPr/>
                <p:nvPr/>
              </p:nvCxnSpPr>
              <p:spPr>
                <a:xfrm rot="18500163" flipV="1">
                  <a:off x="4749189" y="2323395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Gerade Verbindung mit Pfeil 628"/>
                <p:cNvCxnSpPr/>
                <p:nvPr/>
              </p:nvCxnSpPr>
              <p:spPr>
                <a:xfrm rot="5000163" flipV="1">
                  <a:off x="4992360" y="2387889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0" name="Gerade Verbindung mit Pfeil 629"/>
                <p:cNvCxnSpPr/>
                <p:nvPr/>
              </p:nvCxnSpPr>
              <p:spPr>
                <a:xfrm rot="21200163">
                  <a:off x="4861231" y="2553713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1" name="Gerade Verbindung mit Pfeil 630"/>
                <p:cNvCxnSpPr/>
                <p:nvPr/>
              </p:nvCxnSpPr>
              <p:spPr>
                <a:xfrm rot="5000163" flipH="1">
                  <a:off x="4708684" y="2433083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2" name="Gerade Verbindung mit Pfeil 631"/>
                <p:cNvCxnSpPr/>
                <p:nvPr/>
              </p:nvCxnSpPr>
              <p:spPr>
                <a:xfrm rot="21200163" flipH="1" flipV="1">
                  <a:off x="4836343" y="2264515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4" name="Ellipse 633"/>
                <p:cNvSpPr/>
                <p:nvPr/>
              </p:nvSpPr>
              <p:spPr>
                <a:xfrm rot="2300163">
                  <a:off x="4800329" y="2124013"/>
                  <a:ext cx="51666" cy="56330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35" name="Gerade Verbindung mit Pfeil 634"/>
                <p:cNvCxnSpPr/>
                <p:nvPr/>
              </p:nvCxnSpPr>
              <p:spPr>
                <a:xfrm rot="2300163" flipV="1">
                  <a:off x="4909364" y="1993648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6" name="Gerade Verbindung mit Pfeil 635"/>
                <p:cNvCxnSpPr/>
                <p:nvPr/>
              </p:nvCxnSpPr>
              <p:spPr>
                <a:xfrm rot="2300163">
                  <a:off x="4738242" y="2210046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Gerade Verbindung mit Pfeil 636"/>
                <p:cNvCxnSpPr/>
                <p:nvPr/>
              </p:nvCxnSpPr>
              <p:spPr>
                <a:xfrm rot="7700163" flipV="1">
                  <a:off x="4934127" y="2188654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8" name="Gerade Verbindung mit Pfeil 637"/>
                <p:cNvCxnSpPr/>
                <p:nvPr/>
              </p:nvCxnSpPr>
              <p:spPr>
                <a:xfrm rot="18500163" flipV="1">
                  <a:off x="4721031" y="2020142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9" name="Gerade Verbindung mit Pfeil 638"/>
                <p:cNvCxnSpPr/>
                <p:nvPr/>
              </p:nvCxnSpPr>
              <p:spPr>
                <a:xfrm rot="5000163" flipV="1">
                  <a:off x="4964202" y="2084636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0" name="Gerade Verbindung mit Pfeil 639"/>
                <p:cNvCxnSpPr/>
                <p:nvPr/>
              </p:nvCxnSpPr>
              <p:spPr>
                <a:xfrm rot="21200163">
                  <a:off x="4833073" y="2250460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Gerade Verbindung mit Pfeil 640"/>
                <p:cNvCxnSpPr/>
                <p:nvPr/>
              </p:nvCxnSpPr>
              <p:spPr>
                <a:xfrm rot="5000163" flipH="1">
                  <a:off x="4680526" y="2129830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2" name="Gerade Verbindung mit Pfeil 641"/>
                <p:cNvCxnSpPr/>
                <p:nvPr/>
              </p:nvCxnSpPr>
              <p:spPr>
                <a:xfrm rot="21200163" flipH="1" flipV="1">
                  <a:off x="4808185" y="1961262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Gerade Verbindung mit Pfeil 207"/>
                <p:cNvCxnSpPr/>
                <p:nvPr/>
              </p:nvCxnSpPr>
              <p:spPr>
                <a:xfrm flipH="1">
                  <a:off x="3915880" y="2301371"/>
                  <a:ext cx="176246" cy="57902"/>
                </a:xfrm>
                <a:prstGeom prst="straightConnector1">
                  <a:avLst/>
                </a:prstGeom>
                <a:ln w="3175">
                  <a:solidFill>
                    <a:schemeClr val="tx1"/>
                  </a:solidFill>
                  <a:prstDash val="sysDash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Gerade Verbindung mit Pfeil 209"/>
                <p:cNvCxnSpPr/>
                <p:nvPr/>
              </p:nvCxnSpPr>
              <p:spPr>
                <a:xfrm flipH="1" flipV="1">
                  <a:off x="3918529" y="2350215"/>
                  <a:ext cx="260438" cy="43970"/>
                </a:xfrm>
                <a:prstGeom prst="straightConnector1">
                  <a:avLst/>
                </a:prstGeom>
                <a:ln w="3175">
                  <a:solidFill>
                    <a:schemeClr val="tx1"/>
                  </a:solidFill>
                  <a:prstDash val="sysDash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" name="Gerade Verbindung mit Pfeil 219"/>
                <p:cNvCxnSpPr/>
                <p:nvPr/>
              </p:nvCxnSpPr>
              <p:spPr>
                <a:xfrm flipH="1">
                  <a:off x="3529014" y="2292714"/>
                  <a:ext cx="369264" cy="348092"/>
                </a:xfrm>
                <a:prstGeom prst="straightConnector1">
                  <a:avLst/>
                </a:prstGeom>
                <a:ln w="3175">
                  <a:solidFill>
                    <a:schemeClr val="tx1"/>
                  </a:solidFill>
                  <a:prstDash val="sysDash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2" name="Gerade Verbindung mit Pfeil 221"/>
                <p:cNvCxnSpPr/>
                <p:nvPr/>
              </p:nvCxnSpPr>
              <p:spPr>
                <a:xfrm flipH="1">
                  <a:off x="3526655" y="2407525"/>
                  <a:ext cx="383170" cy="231568"/>
                </a:xfrm>
                <a:prstGeom prst="straightConnector1">
                  <a:avLst/>
                </a:prstGeom>
                <a:ln w="3175">
                  <a:solidFill>
                    <a:schemeClr val="tx1"/>
                  </a:solidFill>
                  <a:prstDash val="sysDash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4" name="Gerade Verbindung mit Pfeil 233"/>
                <p:cNvCxnSpPr/>
                <p:nvPr/>
              </p:nvCxnSpPr>
              <p:spPr>
                <a:xfrm flipH="1">
                  <a:off x="3357200" y="4725146"/>
                  <a:ext cx="406749" cy="418554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Gerade Verbindung mit Pfeil 265"/>
                <p:cNvCxnSpPr/>
                <p:nvPr/>
              </p:nvCxnSpPr>
              <p:spPr>
                <a:xfrm flipH="1">
                  <a:off x="3214896" y="4058601"/>
                  <a:ext cx="565596" cy="873286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67" name="Textfeld 266"/>
                    <p:cNvSpPr txBox="1"/>
                    <p:nvPr/>
                  </p:nvSpPr>
                  <p:spPr>
                    <a:xfrm>
                      <a:off x="3644543" y="3272985"/>
                      <a:ext cx="412354" cy="3131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groupChr>
                              <m:groupChrPr>
                                <m:chr m:val="→"/>
                                <m:pos m:val="top"/>
                                <m:ctrlPr>
                                  <a:rPr lang="en-US" sz="1000" b="1" i="1" dirty="0" smtClean="0">
                                    <a:solidFill>
                                      <a:schemeClr val="accent1"/>
                                    </a:solidFill>
                                    <a:latin typeface="Cambria Math"/>
                                    <a:cs typeface="Times New Roman" panose="02020603050405020304" pitchFamily="18" charset="0"/>
                                  </a:rPr>
                                </m:ctrlPr>
                              </m:groupChrPr>
                              <m:e>
                                <m:sSub>
                                  <m:sSubPr>
                                    <m:ctrlPr>
                                      <a:rPr lang="en-US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𝑽</m:t>
                                    </m:r>
                                  </m:e>
                                  <m:sub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𝒄</m:t>
                                    </m:r>
                                  </m:sub>
                                </m:sSub>
                              </m:e>
                            </m:groupChr>
                          </m:oMath>
                        </m:oMathPara>
                      </a14:m>
                      <a:endParaRPr lang="en-US" sz="1000" b="1" baseline="-25000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mc:Choice>
              <mc:Fallback xmlns="">
                <p:sp>
                  <p:nvSpPr>
                    <p:cNvPr id="267" name="Textfeld 266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3644543" y="3272985"/>
                      <a:ext cx="412354" cy="313163"/>
                    </a:xfrm>
                    <a:prstGeom prst="rect">
                      <a:avLst/>
                    </a:prstGeom>
                    <a:blipFill rotWithShape="1">
                      <a:blip r:embed="rId2"/>
                      <a:stretch>
                        <a:fillRect t="-9804" r="-19118" b="-15686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68" name="Textfeld 267"/>
                    <p:cNvSpPr txBox="1"/>
                    <p:nvPr/>
                  </p:nvSpPr>
                  <p:spPr>
                    <a:xfrm>
                      <a:off x="3974487" y="3056986"/>
                      <a:ext cx="412354" cy="3131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groupChr>
                              <m:groupChrPr>
                                <m:chr m:val="→"/>
                                <m:pos m:val="top"/>
                                <m:ctrlPr>
                                  <a:rPr lang="en-US" sz="1000" b="1" i="1" dirty="0" smtClean="0">
                                    <a:solidFill>
                                      <a:schemeClr val="accent1"/>
                                    </a:solidFill>
                                    <a:latin typeface="Cambria Math"/>
                                    <a:cs typeface="Times New Roman" panose="02020603050405020304" pitchFamily="18" charset="0"/>
                                  </a:rPr>
                                </m:ctrlPr>
                              </m:groupChrPr>
                              <m:e>
                                <m:sSub>
                                  <m:sSubPr>
                                    <m:ctrlPr>
                                      <a:rPr lang="en-US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𝑽</m:t>
                                    </m:r>
                                  </m:e>
                                  <m:sub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𝒄</m:t>
                                    </m:r>
                                  </m:sub>
                                </m:sSub>
                              </m:e>
                            </m:groupChr>
                          </m:oMath>
                        </m:oMathPara>
                      </a14:m>
                      <a:endParaRPr lang="en-US" sz="1000" b="1" baseline="-25000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mc:Choice>
              <mc:Fallback xmlns="">
                <p:sp>
                  <p:nvSpPr>
                    <p:cNvPr id="268" name="Textfeld 267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3974487" y="3056986"/>
                      <a:ext cx="412354" cy="313163"/>
                    </a:xfrm>
                    <a:prstGeom prst="rect">
                      <a:avLst/>
                    </a:prstGeom>
                    <a:blipFill rotWithShape="1">
                      <a:blip r:embed="rId3"/>
                      <a:stretch>
                        <a:fillRect t="-9615" r="-19118" b="-13462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69" name="Textfeld 268"/>
                    <p:cNvSpPr txBox="1"/>
                    <p:nvPr/>
                  </p:nvSpPr>
                  <p:spPr>
                    <a:xfrm>
                      <a:off x="3188983" y="3552814"/>
                      <a:ext cx="412354" cy="3131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groupChr>
                              <m:groupChrPr>
                                <m:chr m:val="→"/>
                                <m:pos m:val="top"/>
                                <m:ctrlPr>
                                  <a:rPr lang="en-US" sz="1000" b="1" i="1" dirty="0" smtClean="0">
                                    <a:solidFill>
                                      <a:schemeClr val="accent1"/>
                                    </a:solidFill>
                                    <a:latin typeface="Cambria Math"/>
                                    <a:cs typeface="Times New Roman" panose="02020603050405020304" pitchFamily="18" charset="0"/>
                                  </a:rPr>
                                </m:ctrlPr>
                              </m:groupChrPr>
                              <m:e>
                                <m:sSub>
                                  <m:sSubPr>
                                    <m:ctrlPr>
                                      <a:rPr lang="en-US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𝑽</m:t>
                                    </m:r>
                                  </m:e>
                                  <m:sub>
                                    <m:r>
                                      <a:rPr lang="de-DE" sz="1000" b="1" i="1" dirty="0" smtClean="0">
                                        <a:solidFill>
                                          <a:schemeClr val="accent1"/>
                                        </a:solidFill>
                                        <a:latin typeface="Cambria Math"/>
                                        <a:cs typeface="Times New Roman" panose="02020603050405020304" pitchFamily="18" charset="0"/>
                                      </a:rPr>
                                      <m:t>𝒄</m:t>
                                    </m:r>
                                  </m:sub>
                                </m:sSub>
                              </m:e>
                            </m:groupChr>
                          </m:oMath>
                        </m:oMathPara>
                      </a14:m>
                      <a:endParaRPr lang="en-US" sz="1000" b="1" baseline="-25000" dirty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p:txBody>
                </p:sp>
              </mc:Choice>
              <mc:Fallback xmlns="">
                <p:sp>
                  <p:nvSpPr>
                    <p:cNvPr id="269" name="Textfeld 268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3188983" y="3552814"/>
                      <a:ext cx="412354" cy="313163"/>
                    </a:xfrm>
                    <a:prstGeom prst="rect">
                      <a:avLst/>
                    </a:prstGeom>
                    <a:blipFill rotWithShape="1">
                      <a:blip r:embed="rId4"/>
                      <a:stretch>
                        <a:fillRect t="-9804" r="-20588" b="-15686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cxnSp>
            <p:nvCxnSpPr>
              <p:cNvPr id="270" name="Gerade Verbindung mit Pfeil 269"/>
              <p:cNvCxnSpPr/>
              <p:nvPr/>
            </p:nvCxnSpPr>
            <p:spPr>
              <a:xfrm flipV="1">
                <a:off x="4324769" y="1173239"/>
                <a:ext cx="609" cy="383553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1" name="Textfeld 270"/>
              <p:cNvSpPr txBox="1"/>
              <p:nvPr/>
            </p:nvSpPr>
            <p:spPr>
              <a:xfrm>
                <a:off x="4037534" y="1257899"/>
                <a:ext cx="822498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2" name="Textfeld 271"/>
              <p:cNvSpPr txBox="1"/>
              <p:nvPr/>
            </p:nvSpPr>
            <p:spPr>
              <a:xfrm>
                <a:off x="3543655" y="2040764"/>
                <a:ext cx="288032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0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</a:lstStyle>
              <a:p>
                <a:r>
                  <a:rPr lang="en-US" b="1" dirty="0"/>
                  <a:t>A</a:t>
                </a:r>
              </a:p>
            </p:txBody>
          </p:sp>
          <p:sp>
            <p:nvSpPr>
              <p:cNvPr id="273" name="Textfeld 272"/>
              <p:cNvSpPr txBox="1"/>
              <p:nvPr/>
            </p:nvSpPr>
            <p:spPr>
              <a:xfrm>
                <a:off x="4609345" y="1531144"/>
                <a:ext cx="288032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0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</a:lstStyle>
              <a:p>
                <a:r>
                  <a:rPr lang="en-US" b="1" dirty="0" smtClean="0"/>
                  <a:t>B</a:t>
                </a:r>
                <a:endParaRPr lang="en-US" b="1" dirty="0"/>
              </a:p>
            </p:txBody>
          </p:sp>
          <p:sp>
            <p:nvSpPr>
              <p:cNvPr id="274" name="Textfeld 273"/>
              <p:cNvSpPr txBox="1"/>
              <p:nvPr/>
            </p:nvSpPr>
            <p:spPr>
              <a:xfrm>
                <a:off x="5092276" y="2492584"/>
                <a:ext cx="288032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0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</a:lstStyle>
              <a:p>
                <a:r>
                  <a:rPr lang="en-US" b="1" dirty="0"/>
                  <a:t>D</a:t>
                </a:r>
              </a:p>
            </p:txBody>
          </p:sp>
          <p:sp>
            <p:nvSpPr>
              <p:cNvPr id="284" name="Textfeld 283"/>
              <p:cNvSpPr txBox="1"/>
              <p:nvPr/>
            </p:nvSpPr>
            <p:spPr>
              <a:xfrm>
                <a:off x="4951137" y="1611907"/>
                <a:ext cx="288032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0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</a:lstStyle>
              <a:p>
                <a:r>
                  <a:rPr lang="en-US" b="1" dirty="0" smtClean="0"/>
                  <a:t>C</a:t>
                </a:r>
                <a:endParaRPr lang="en-US" b="1" dirty="0"/>
              </a:p>
            </p:txBody>
          </p:sp>
        </p:grpSp>
        <p:grpSp>
          <p:nvGrpSpPr>
            <p:cNvPr id="45" name="Gruppieren 44"/>
            <p:cNvGrpSpPr/>
            <p:nvPr/>
          </p:nvGrpSpPr>
          <p:grpSpPr>
            <a:xfrm>
              <a:off x="2893666" y="2572855"/>
              <a:ext cx="822498" cy="310558"/>
              <a:chOff x="2893666" y="2572855"/>
              <a:chExt cx="822498" cy="310558"/>
            </a:xfrm>
          </p:grpSpPr>
          <p:cxnSp>
            <p:nvCxnSpPr>
              <p:cNvPr id="285" name="Gerade Verbindung mit Pfeil 284"/>
              <p:cNvCxnSpPr/>
              <p:nvPr/>
            </p:nvCxnSpPr>
            <p:spPr>
              <a:xfrm>
                <a:off x="3164913" y="2883413"/>
                <a:ext cx="36004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6" name="Textfeld 285"/>
              <p:cNvSpPr txBox="1"/>
              <p:nvPr/>
            </p:nvSpPr>
            <p:spPr>
              <a:xfrm>
                <a:off x="2893666" y="2572855"/>
                <a:ext cx="822498" cy="271066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87" name="Gruppieren 286"/>
            <p:cNvGrpSpPr/>
            <p:nvPr/>
          </p:nvGrpSpPr>
          <p:grpSpPr>
            <a:xfrm>
              <a:off x="2893666" y="2001506"/>
              <a:ext cx="822498" cy="310558"/>
              <a:chOff x="2893666" y="2572855"/>
              <a:chExt cx="822498" cy="310558"/>
            </a:xfrm>
          </p:grpSpPr>
          <p:cxnSp>
            <p:nvCxnSpPr>
              <p:cNvPr id="289" name="Gerade Verbindung mit Pfeil 288"/>
              <p:cNvCxnSpPr/>
              <p:nvPr/>
            </p:nvCxnSpPr>
            <p:spPr>
              <a:xfrm>
                <a:off x="3164913" y="2883413"/>
                <a:ext cx="36004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0" name="Textfeld 289"/>
              <p:cNvSpPr txBox="1"/>
              <p:nvPr/>
            </p:nvSpPr>
            <p:spPr>
              <a:xfrm>
                <a:off x="2893666" y="2572855"/>
                <a:ext cx="822498" cy="271066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endParaRPr lang="en-US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91" name="Textfeld 290"/>
            <p:cNvSpPr txBox="1"/>
            <p:nvPr/>
          </p:nvSpPr>
          <p:spPr>
            <a:xfrm>
              <a:off x="4727516" y="1807749"/>
              <a:ext cx="870640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err="1" smtClean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  <a:r>
                <a:rPr lang="en-US" sz="1000" baseline="-25000" dirty="0" err="1" smtClean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riction</a:t>
              </a:r>
              <a:endParaRPr lang="en-US" sz="1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2" name="Textfeld 291"/>
            <p:cNvSpPr txBox="1"/>
            <p:nvPr/>
          </p:nvSpPr>
          <p:spPr>
            <a:xfrm>
              <a:off x="4673182" y="2166825"/>
              <a:ext cx="870640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err="1" smtClean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  <a:r>
                <a:rPr lang="en-US" sz="1000" baseline="-25000" dirty="0" err="1" smtClean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ubb</a:t>
              </a:r>
              <a:endParaRPr lang="en-US" sz="1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214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56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hteck 50"/>
          <p:cNvSpPr/>
          <p:nvPr/>
        </p:nvSpPr>
        <p:spPr>
          <a:xfrm>
            <a:off x="2945951" y="518000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8" name="Textfeld 377"/>
          <p:cNvSpPr txBox="1"/>
          <p:nvPr/>
        </p:nvSpPr>
        <p:spPr>
          <a:xfrm>
            <a:off x="1980135" y="5394058"/>
            <a:ext cx="308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000" baseline="-25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3" name="Titel 2"/>
          <p:cNvSpPr>
            <a:spLocks noGrp="1"/>
          </p:cNvSpPr>
          <p:nvPr>
            <p:ph type="title"/>
          </p:nvPr>
        </p:nvSpPr>
        <p:spPr>
          <a:xfrm>
            <a:off x="217488" y="0"/>
            <a:ext cx="9594850" cy="719138"/>
          </a:xfrm>
        </p:spPr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298" name="Rechteck 297"/>
          <p:cNvSpPr/>
          <p:nvPr/>
        </p:nvSpPr>
        <p:spPr>
          <a:xfrm>
            <a:off x="6084168" y="1509268"/>
            <a:ext cx="2900882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uppieren 19"/>
          <p:cNvGrpSpPr/>
          <p:nvPr/>
        </p:nvGrpSpPr>
        <p:grpSpPr>
          <a:xfrm>
            <a:off x="6027978" y="1705611"/>
            <a:ext cx="2812629" cy="2012088"/>
            <a:chOff x="6027978" y="1705611"/>
            <a:chExt cx="2812629" cy="201208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7" name="Textfeld 296"/>
                <p:cNvSpPr txBox="1"/>
                <p:nvPr/>
              </p:nvSpPr>
              <p:spPr>
                <a:xfrm>
                  <a:off x="6027978" y="1705611"/>
                  <a:ext cx="2812629" cy="1616853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d>
                        <m:dPr>
                          <m:ctrlPr>
                            <a:rPr lang="en-US" sz="1000" i="1" smtClean="0">
                              <a:latin typeface="Cambria Math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3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000" i="1" smtClean="0">
                                  <a:latin typeface="Cambria Math"/>
                                </a:rPr>
                              </m:ctrlPr>
                            </m:mPr>
                            <m:mr>
                              <m:e>
                                <m:eqArr>
                                  <m:eqArr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eqArrPr>
                                  <m:e>
                                    <m:sSub>
                                      <m:sSubPr>
                                        <m:ctrlPr>
                                          <a:rPr lang="en-US" sz="1000" i="1" smtClean="0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11</m:t>
                                        </m:r>
                                      </m:sub>
                                    </m:sSub>
                                  </m:e>
                                  <m:e>
                                    <m:r>
                                      <a:rPr lang="en-US" sz="1000" i="1">
                                        <a:latin typeface="Cambria Math"/>
                                      </a:rPr>
                                      <m:t>⋮</m:t>
                                    </m:r>
                                  </m:e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𝑘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1</m:t>
                                        </m:r>
                                      </m:sub>
                                    </m:sSub>
                                  </m:e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𝑘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+1,1</m:t>
                                        </m:r>
                                      </m:sub>
                                    </m:sSub>
                                  </m:e>
                                </m:eqArr>
                              </m:e>
                              <m:e>
                                <m:eqArr>
                                  <m:eqArr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eqArrPr>
                                  <m:e>
                                    <m:r>
                                      <a:rPr lang="en-US" sz="1000" i="1" smtClean="0">
                                        <a:latin typeface="Cambria Math"/>
                                      </a:rPr>
                                      <m:t>⋯</m:t>
                                    </m:r>
                                  </m:e>
                                  <m:e/>
                                  <m:e/>
                                  <m:e/>
                                </m:eqArr>
                              </m:e>
                              <m:e>
                                <m:eqArr>
                                  <m:eqArrPr>
                                    <m:ctrlPr>
                                      <a:rPr lang="en-US" sz="1000" i="1">
                                        <a:latin typeface="Cambria Math"/>
                                      </a:rPr>
                                    </m:ctrlPr>
                                  </m:eqArrPr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1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</m:e>
                                  <m:e>
                                    <m:r>
                                      <a:rPr lang="en-US" sz="1000" i="1">
                                        <a:latin typeface="Cambria Math"/>
                                      </a:rPr>
                                      <m:t>⋮</m:t>
                                    </m:r>
                                  </m:e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𝑘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</m:e>
                                  <m:e>
                                    <m:sSub>
                                      <m:sSubPr>
                                        <m:ctrlPr>
                                          <a:rPr lang="en-US" sz="1000" i="1">
                                            <a:latin typeface="Cambria Math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𝐴</m:t>
                                        </m:r>
                                      </m:e>
                                      <m:sub>
                                        <m:r>
                                          <a:rPr lang="de-DE" sz="1000" i="1">
                                            <a:latin typeface="Cambria Math"/>
                                          </a:rPr>
                                          <m:t>𝑘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+1</m:t>
                                        </m:r>
                                        <m:r>
                                          <a:rPr lang="de-DE" sz="1000" b="0" i="1" smtClean="0">
                                            <a:latin typeface="Cambria Math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</m:e>
                                </m:eqArr>
                              </m:e>
                            </m:mr>
                            <m:mr>
                              <m:e>
                                <m:r>
                                  <a:rPr lang="en-US" sz="1000" i="1" smtClean="0">
                                    <a:latin typeface="Cambria Math"/>
                                  </a:rPr>
                                  <m:t>⋮</m:t>
                                </m:r>
                              </m:e>
                              <m:e/>
                              <m:e>
                                <m:r>
                                  <a:rPr lang="en-US" sz="1000" i="1" smtClean="0">
                                    <a:latin typeface="Cambria Math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b="0" i="1" smtClean="0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n-US" sz="1000" i="1" smtClean="0">
                                        <a:latin typeface="Cambria Math"/>
                                        <a:ea typeface="Cambria Math"/>
                                      </a:rPr>
                                      <m:t>𝜉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  <m:e/>
                              <m:e>
                                <m:sSub>
                                  <m:sSub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i="1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n-US" sz="1000" i="1">
                                        <a:latin typeface="Cambria Math"/>
                                        <a:ea typeface="Cambria Math"/>
                                      </a:rPr>
                                      <m:t>𝜉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  <a:ea typeface="Cambria Math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b="0" i="1" smtClean="0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n-US" sz="1000" i="1" smtClean="0">
                                        <a:latin typeface="Cambria Math"/>
                                        <a:ea typeface="Cambria Math"/>
                                      </a:rPr>
                                      <m:t>𝜉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  <a:ea typeface="Cambria Math"/>
                                      </a:rPr>
                                      <m:t>+1</m:t>
                                    </m:r>
                                  </m:sub>
                                </m:sSub>
                              </m:e>
                              <m:e/>
                              <m:e>
                                <m:sSub>
                                  <m:sSubPr>
                                    <m:ctrlPr>
                                      <a:rPr lang="en-US" sz="10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i="1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en-US" sz="1000" i="1">
                                        <a:latin typeface="Cambria Math"/>
                                        <a:ea typeface="Cambria Math"/>
                                      </a:rPr>
                                      <m:t>𝜉</m:t>
                                    </m:r>
                                    <m:r>
                                      <a:rPr lang="de-DE" sz="1000" i="1">
                                        <a:latin typeface="Cambria Math"/>
                                        <a:ea typeface="Cambria Math"/>
                                      </a:rPr>
                                      <m:t>+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  <a:ea typeface="Cambria Math"/>
                                      </a:rPr>
                                      <m:t>1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  <a:ea typeface="Cambria Math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en-US" sz="1000" i="1">
                                    <a:latin typeface="Cambria Math"/>
                                  </a:rPr>
                                  <m:t>⋮</m:t>
                                </m:r>
                              </m:e>
                              <m:e/>
                              <m:e>
                                <m:r>
                                  <a:rPr lang="en-US" sz="1000" i="1">
                                    <a:latin typeface="Cambria Math"/>
                                  </a:rPr>
                                  <m:t>⋮</m:t>
                                </m:r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000" i="1" smtClean="0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i="1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de-DE" sz="1000" b="0" i="1" smtClean="0">
                                        <a:latin typeface="Cambria Math"/>
                                      </a:rPr>
                                      <m:t>𝑖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  <m:e>
                                <m:r>
                                  <a:rPr lang="en-US" sz="1000" i="1" smtClean="0">
                                    <a:latin typeface="Cambria Math"/>
                                  </a:rPr>
                                  <m:t>⋯</m:t>
                                </m:r>
                              </m:e>
                              <m:e>
                                <m:sSub>
                                  <m:sSubPr>
                                    <m:ctrlPr>
                                      <a:rPr lang="en-US" sz="10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000" i="1">
                                        <a:latin typeface="Cambria Math"/>
                                      </a:rPr>
                                      <m:t>𝐴</m:t>
                                    </m:r>
                                  </m:e>
                                  <m:sub>
                                    <m:r>
                                      <a:rPr lang="de-DE" sz="1000" i="1">
                                        <a:latin typeface="Cambria Math"/>
                                      </a:rPr>
                                      <m:t>𝑖</m:t>
                                    </m:r>
                                    <m:r>
                                      <a:rPr lang="de-DE" sz="1000" b="0" i="1" smtClean="0">
                                        <a:latin typeface="Cambria Math"/>
                                      </a:rPr>
                                      <m:t>𝑗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de-DE" sz="1000" b="0" i="0" smtClean="0">
                          <a:latin typeface="Cambria Math"/>
                        </a:rPr>
                        <m:t> </m:t>
                      </m:r>
                      <m:r>
                        <a:rPr lang="de-DE" sz="1000" b="0" i="1" smtClean="0">
                          <a:latin typeface="Cambria Math"/>
                          <a:ea typeface="Cambria Math"/>
                        </a:rPr>
                        <m:t>∙ </m:t>
                      </m:r>
                      <m:d>
                        <m:dPr>
                          <m:ctrlPr>
                            <a:rPr lang="de-DE" sz="1000" b="0" i="1" smtClean="0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de-DE" sz="1000" b="0" i="1" smtClean="0">
                                  <a:latin typeface="Cambria Math"/>
                                  <a:ea typeface="Cambria Math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1000" i="1">
                                  <a:latin typeface="Cambria Math"/>
                                </a:rPr>
                                <m:t>⋮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𝑘</m:t>
                                  </m:r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1000" i="1">
                                  <a:latin typeface="Cambria Math"/>
                                </a:rPr>
                                <m:t>⋮</m:t>
                              </m:r>
                            </m:e>
                            <m:e/>
                            <m:e>
                              <m:r>
                                <a:rPr lang="de-DE" sz="1000" b="0" i="1" smtClean="0">
                                  <a:latin typeface="Cambria Math"/>
                                </a:rPr>
                                <m:t>0</m:t>
                              </m:r>
                            </m:e>
                            <m:e>
                              <m:r>
                                <a:rPr lang="de-DE" sz="1000" b="0" i="1" smtClean="0">
                                  <a:latin typeface="Cambria Math"/>
                                </a:rPr>
                                <m:t>0</m:t>
                              </m:r>
                            </m:e>
                            <m:e/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𝑗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a14:m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= </a:t>
                  </a:r>
                  <a14:m>
                    <m:oMath xmlns:m="http://schemas.openxmlformats.org/officeDocument/2006/math">
                      <m:d>
                        <m:dPr>
                          <m:ctrlPr>
                            <a:rPr lang="de-DE" sz="1000" i="1">
                              <a:latin typeface="Cambria Math"/>
                              <a:ea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de-DE" sz="1000" i="1">
                                  <a:latin typeface="Cambria Math"/>
                                  <a:ea typeface="Cambria Math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1000" i="1">
                                  <a:latin typeface="Cambria Math"/>
                                </a:rPr>
                                <m:t>⋮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𝑘</m:t>
                                  </m:r>
                                  <m:r>
                                    <a:rPr lang="de-DE" sz="1000" i="1">
                                      <a:latin typeface="Cambria Math"/>
                                      <a:ea typeface="Cambria Math"/>
                                    </a:rPr>
                                    <m:t>+1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1000" i="1">
                                  <a:latin typeface="Cambria Math"/>
                                </a:rPr>
                                <m:t>⋮</m:t>
                              </m:r>
                            </m:e>
                            <m:e/>
                            <m:e>
                              <m:r>
                                <a:rPr lang="de-DE" sz="1000" b="0" i="1" smtClean="0">
                                  <a:latin typeface="Cambria Math"/>
                                </a:rPr>
                                <m:t>𝑐</m:t>
                              </m:r>
                              <m:r>
                                <a:rPr lang="en-US" sz="100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sSub>
                                <m:sSubPr>
                                  <m:ctrlPr>
                                    <a:rPr lang="en-US" sz="10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𝑠h𝑒𝑎𝑟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en-US" sz="1000" i="1" smtClean="0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 </m:t>
                                  </m:r>
                                </m:sub>
                              </m:sSub>
                              <m:r>
                                <a:rPr lang="en-US" sz="1000" i="1" smtClean="0">
                                  <a:latin typeface="Cambria Math"/>
                                  <a:ea typeface="Cambria Math"/>
                                </a:rPr>
                                <m:t>∙</m:t>
                              </m:r>
                              <m:sSub>
                                <m:sSubPr>
                                  <m:ctrlPr>
                                    <a:rPr lang="en-US" sz="10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𝑞</m:t>
                                  </m:r>
                                </m:e>
                                <m:sub>
                                  <m:r>
                                    <a:rPr lang="en-US" sz="1000" i="1" smtClean="0">
                                      <a:latin typeface="Cambria Math"/>
                                      <a:ea typeface="Cambria Math"/>
                                    </a:rPr>
                                    <m:t>𝜉</m:t>
                                  </m:r>
                                </m:sub>
                              </m:sSub>
                            </m:e>
                            <m:e/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latin typeface="Cambria Math"/>
                                      <a:ea typeface="Cambria Math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a14:m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97" name="Textfeld 2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27978" y="1705611"/>
                  <a:ext cx="2812629" cy="1616853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  <a:ln w="12700"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99" name="Textfeld 298"/>
            <p:cNvSpPr txBox="1"/>
            <p:nvPr/>
          </p:nvSpPr>
          <p:spPr>
            <a:xfrm>
              <a:off x="6327648" y="3471478"/>
              <a:ext cx="2413921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nfluence matrix 	         Sources        BC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2627784" y="726423"/>
            <a:ext cx="3243319" cy="2505491"/>
            <a:chOff x="2627784" y="726423"/>
            <a:chExt cx="3243319" cy="2505491"/>
          </a:xfrm>
        </p:grpSpPr>
        <p:grpSp>
          <p:nvGrpSpPr>
            <p:cNvPr id="40" name="Gruppieren 39"/>
            <p:cNvGrpSpPr/>
            <p:nvPr/>
          </p:nvGrpSpPr>
          <p:grpSpPr>
            <a:xfrm>
              <a:off x="2627784" y="726423"/>
              <a:ext cx="3243319" cy="2505491"/>
              <a:chOff x="2627784" y="726423"/>
              <a:chExt cx="3243319" cy="2505491"/>
            </a:xfrm>
          </p:grpSpPr>
          <p:sp>
            <p:nvSpPr>
              <p:cNvPr id="294" name="Textfeld 293"/>
              <p:cNvSpPr txBox="1"/>
              <p:nvPr/>
            </p:nvSpPr>
            <p:spPr>
              <a:xfrm>
                <a:off x="4437663" y="726423"/>
                <a:ext cx="87708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en-US" sz="1000" baseline="-2500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tact</a:t>
                </a:r>
                <a:endParaRPr lang="en-US" sz="10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9" name="Gruppieren 18"/>
              <p:cNvGrpSpPr/>
              <p:nvPr/>
            </p:nvGrpSpPr>
            <p:grpSpPr>
              <a:xfrm>
                <a:off x="2627784" y="852193"/>
                <a:ext cx="3243319" cy="2379721"/>
                <a:chOff x="3071428" y="855430"/>
                <a:chExt cx="2799673" cy="2054205"/>
              </a:xfrm>
            </p:grpSpPr>
            <p:sp>
              <p:nvSpPr>
                <p:cNvPr id="61" name="Freihandform 60"/>
                <p:cNvSpPr/>
                <p:nvPr/>
              </p:nvSpPr>
              <p:spPr>
                <a:xfrm rot="20227854">
                  <a:off x="4515051" y="878040"/>
                  <a:ext cx="404103" cy="1364224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41275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</a:p>
              </p:txBody>
            </p:sp>
            <p:sp>
              <p:nvSpPr>
                <p:cNvPr id="227" name="Freihandform 226"/>
                <p:cNvSpPr/>
                <p:nvPr/>
              </p:nvSpPr>
              <p:spPr>
                <a:xfrm rot="20227854">
                  <a:off x="4514610" y="875858"/>
                  <a:ext cx="404103" cy="1366495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0">
                  <a:solidFill>
                    <a:schemeClr val="tx1"/>
                  </a:solidFill>
                  <a:prstDash val="solid"/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</a:p>
              </p:txBody>
            </p:sp>
            <p:cxnSp>
              <p:nvCxnSpPr>
                <p:cNvPr id="21" name="Gerade Verbindung 20"/>
                <p:cNvCxnSpPr/>
                <p:nvPr/>
              </p:nvCxnSpPr>
              <p:spPr>
                <a:xfrm>
                  <a:off x="4749071" y="2454732"/>
                  <a:ext cx="1031006" cy="0"/>
                </a:xfrm>
                <a:prstGeom prst="line">
                  <a:avLst/>
                </a:prstGeom>
                <a:noFill/>
                <a:ln w="41275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33" name="Gerade Verbindung 232"/>
                <p:cNvCxnSpPr/>
                <p:nvPr/>
              </p:nvCxnSpPr>
              <p:spPr>
                <a:xfrm>
                  <a:off x="4749071" y="2454732"/>
                  <a:ext cx="1031006" cy="0"/>
                </a:xfrm>
                <a:prstGeom prst="line">
                  <a:avLst/>
                </a:prstGeom>
                <a:noFill/>
                <a:ln w="0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8" name="Textfeld 7"/>
                <p:cNvSpPr txBox="1"/>
                <p:nvPr/>
              </p:nvSpPr>
              <p:spPr>
                <a:xfrm>
                  <a:off x="4065534" y="1801482"/>
                  <a:ext cx="870640" cy="21254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q</a:t>
                  </a:r>
                  <a:r>
                    <a:rPr lang="en-US" sz="1000" baseline="-25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hear</a:t>
                  </a:r>
                  <a:r>
                    <a:rPr lang="en-US" sz="1000" baseline="-25000" dirty="0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, chip</a:t>
                  </a:r>
                  <a:endParaRPr lang="en-US" sz="10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3" name="Textfeld 22"/>
                <p:cNvSpPr txBox="1"/>
                <p:nvPr/>
              </p:nvSpPr>
              <p:spPr>
                <a:xfrm>
                  <a:off x="5048603" y="1625724"/>
                  <a:ext cx="822498" cy="271065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Tool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5" name="Textfeld 24"/>
                <p:cNvSpPr txBox="1"/>
                <p:nvPr/>
              </p:nvSpPr>
              <p:spPr>
                <a:xfrm>
                  <a:off x="3739536" y="902081"/>
                  <a:ext cx="822498" cy="271065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hip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47" name="Gerade Verbindung 46"/>
                <p:cNvCxnSpPr/>
                <p:nvPr/>
              </p:nvCxnSpPr>
              <p:spPr>
                <a:xfrm flipH="1">
                  <a:off x="4739975" y="1115197"/>
                  <a:ext cx="389679" cy="1346754"/>
                </a:xfrm>
                <a:prstGeom prst="line">
                  <a:avLst/>
                </a:prstGeom>
                <a:noFill/>
                <a:ln w="41275"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48" name="Gerade Verbindung 47"/>
                <p:cNvCxnSpPr/>
                <p:nvPr/>
              </p:nvCxnSpPr>
              <p:spPr>
                <a:xfrm flipH="1">
                  <a:off x="4941104" y="2366600"/>
                  <a:ext cx="560701" cy="88132"/>
                </a:xfrm>
                <a:prstGeom prst="line">
                  <a:avLst/>
                </a:prstGeom>
                <a:noFill/>
                <a:ln w="41275">
                  <a:solidFill>
                    <a:schemeClr val="tx1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43" name="Freihandform 42"/>
                <p:cNvSpPr/>
                <p:nvPr/>
              </p:nvSpPr>
              <p:spPr>
                <a:xfrm rot="20173894">
                  <a:off x="3906000" y="973852"/>
                  <a:ext cx="404103" cy="1054116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6350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79" name="Gerade Verbindung 78"/>
                <p:cNvCxnSpPr/>
                <p:nvPr/>
              </p:nvCxnSpPr>
              <p:spPr>
                <a:xfrm>
                  <a:off x="3537692" y="2069466"/>
                  <a:ext cx="586127" cy="1"/>
                </a:xfrm>
                <a:prstGeom prst="line">
                  <a:avLst/>
                </a:prstGeom>
                <a:noFill/>
                <a:ln w="41275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237" name="Ellipse 236"/>
                <p:cNvSpPr/>
                <p:nvPr/>
              </p:nvSpPr>
              <p:spPr>
                <a:xfrm rot="2300163">
                  <a:off x="4150720" y="2076437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38" name="Gerade Verbindung mit Pfeil 237"/>
                <p:cNvCxnSpPr/>
                <p:nvPr/>
              </p:nvCxnSpPr>
              <p:spPr>
                <a:xfrm rot="2300163" flipV="1">
                  <a:off x="4218892" y="199550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 Verbindung mit Pfeil 238"/>
                <p:cNvCxnSpPr/>
                <p:nvPr/>
              </p:nvCxnSpPr>
              <p:spPr>
                <a:xfrm rot="2300163">
                  <a:off x="4112656" y="2129848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 Verbindung mit Pfeil 239"/>
                <p:cNvCxnSpPr/>
                <p:nvPr/>
              </p:nvCxnSpPr>
              <p:spPr>
                <a:xfrm rot="7700163" flipV="1">
                  <a:off x="4236274" y="2117246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" name="Gerade Verbindung mit Pfeil 240"/>
                <p:cNvCxnSpPr/>
                <p:nvPr/>
              </p:nvCxnSpPr>
              <p:spPr>
                <a:xfrm rot="18500163" flipV="1">
                  <a:off x="4100015" y="2009496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" name="Gerade Verbindung mit Pfeil 241"/>
                <p:cNvCxnSpPr/>
                <p:nvPr/>
              </p:nvCxnSpPr>
              <p:spPr>
                <a:xfrm rot="5000163" flipV="1">
                  <a:off x="4254387" y="2053139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Gerade Verbindung mit Pfeil 242"/>
                <p:cNvCxnSpPr/>
                <p:nvPr/>
              </p:nvCxnSpPr>
              <p:spPr>
                <a:xfrm rot="21200163">
                  <a:off x="4172980" y="215608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" name="Gerade Verbindung mit Pfeil 243"/>
                <p:cNvCxnSpPr/>
                <p:nvPr/>
              </p:nvCxnSpPr>
              <p:spPr>
                <a:xfrm rot="5000163" flipH="1">
                  <a:off x="4075438" y="2078952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Gerade Verbindung mit Pfeil 244"/>
                <p:cNvCxnSpPr/>
                <p:nvPr/>
              </p:nvCxnSpPr>
              <p:spPr>
                <a:xfrm rot="21200163" flipH="1" flipV="1">
                  <a:off x="4154627" y="197425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7" name="Ellipse 246"/>
                <p:cNvSpPr/>
                <p:nvPr/>
              </p:nvSpPr>
              <p:spPr>
                <a:xfrm rot="2300163">
                  <a:off x="4325312" y="2179843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48" name="Gerade Verbindung mit Pfeil 247"/>
                <p:cNvCxnSpPr/>
                <p:nvPr/>
              </p:nvCxnSpPr>
              <p:spPr>
                <a:xfrm rot="2300163" flipV="1">
                  <a:off x="4393484" y="209891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" name="Gerade Verbindung mit Pfeil 248"/>
                <p:cNvCxnSpPr/>
                <p:nvPr/>
              </p:nvCxnSpPr>
              <p:spPr>
                <a:xfrm rot="2300163">
                  <a:off x="4287248" y="2233254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Gerade Verbindung mit Pfeil 249"/>
                <p:cNvCxnSpPr/>
                <p:nvPr/>
              </p:nvCxnSpPr>
              <p:spPr>
                <a:xfrm rot="7700163" flipV="1">
                  <a:off x="4410866" y="2220652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Gerade Verbindung mit Pfeil 250"/>
                <p:cNvCxnSpPr/>
                <p:nvPr/>
              </p:nvCxnSpPr>
              <p:spPr>
                <a:xfrm rot="18500163" flipV="1">
                  <a:off x="4274607" y="2112902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Gerade Verbindung mit Pfeil 251"/>
                <p:cNvCxnSpPr/>
                <p:nvPr/>
              </p:nvCxnSpPr>
              <p:spPr>
                <a:xfrm rot="5000163" flipV="1">
                  <a:off x="4428979" y="2156545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Gerade Verbindung mit Pfeil 252"/>
                <p:cNvCxnSpPr/>
                <p:nvPr/>
              </p:nvCxnSpPr>
              <p:spPr>
                <a:xfrm rot="21200163">
                  <a:off x="4347572" y="2259491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Gerade Verbindung mit Pfeil 253"/>
                <p:cNvCxnSpPr/>
                <p:nvPr/>
              </p:nvCxnSpPr>
              <p:spPr>
                <a:xfrm rot="5000163" flipH="1">
                  <a:off x="4250030" y="2182358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Gerade Verbindung mit Pfeil 254"/>
                <p:cNvCxnSpPr/>
                <p:nvPr/>
              </p:nvCxnSpPr>
              <p:spPr>
                <a:xfrm rot="21200163" flipH="1" flipV="1">
                  <a:off x="4329219" y="2077657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7" name="Ellipse 256"/>
                <p:cNvSpPr/>
                <p:nvPr/>
              </p:nvSpPr>
              <p:spPr>
                <a:xfrm rot="2300163">
                  <a:off x="4692334" y="2410462"/>
                  <a:ext cx="33037" cy="34971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58" name="Gerade Verbindung mit Pfeil 257"/>
                <p:cNvCxnSpPr/>
                <p:nvPr/>
              </p:nvCxnSpPr>
              <p:spPr>
                <a:xfrm rot="2300163" flipV="1">
                  <a:off x="4760506" y="2329530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Gerade Verbindung mit Pfeil 258"/>
                <p:cNvCxnSpPr/>
                <p:nvPr/>
              </p:nvCxnSpPr>
              <p:spPr>
                <a:xfrm rot="2300163">
                  <a:off x="4654270" y="2463873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Gerade Verbindung mit Pfeil 259"/>
                <p:cNvCxnSpPr/>
                <p:nvPr/>
              </p:nvCxnSpPr>
              <p:spPr>
                <a:xfrm rot="7700163" flipV="1">
                  <a:off x="4777888" y="2451271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Gerade Verbindung mit Pfeil 260"/>
                <p:cNvCxnSpPr/>
                <p:nvPr/>
              </p:nvCxnSpPr>
              <p:spPr>
                <a:xfrm rot="18500163" flipV="1">
                  <a:off x="4641629" y="2343521"/>
                  <a:ext cx="0" cy="62536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Gerade Verbindung mit Pfeil 261"/>
                <p:cNvCxnSpPr/>
                <p:nvPr/>
              </p:nvCxnSpPr>
              <p:spPr>
                <a:xfrm rot="5000163" flipV="1">
                  <a:off x="4796001" y="2387164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Gerade Verbindung mit Pfeil 262"/>
                <p:cNvCxnSpPr/>
                <p:nvPr/>
              </p:nvCxnSpPr>
              <p:spPr>
                <a:xfrm rot="21200163">
                  <a:off x="4714594" y="2490110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Gerade Verbindung mit Pfeil 263"/>
                <p:cNvCxnSpPr/>
                <p:nvPr/>
              </p:nvCxnSpPr>
              <p:spPr>
                <a:xfrm rot="5000163" flipH="1">
                  <a:off x="4617052" y="2412977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" name="Gerade Verbindung mit Pfeil 264"/>
                <p:cNvCxnSpPr/>
                <p:nvPr/>
              </p:nvCxnSpPr>
              <p:spPr>
                <a:xfrm rot="21200163" flipH="1" flipV="1">
                  <a:off x="4696241" y="2308276"/>
                  <a:ext cx="0" cy="66197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Gerade Verbindung 287"/>
                <p:cNvCxnSpPr/>
                <p:nvPr/>
              </p:nvCxnSpPr>
              <p:spPr>
                <a:xfrm>
                  <a:off x="4123818" y="2069467"/>
                  <a:ext cx="625253" cy="378501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3" name="Ellipse 332"/>
                <p:cNvSpPr/>
                <p:nvPr/>
              </p:nvSpPr>
              <p:spPr>
                <a:xfrm rot="2300163">
                  <a:off x="4508368" y="2291046"/>
                  <a:ext cx="33001" cy="39406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34" name="Gerade Verbindung mit Pfeil 333"/>
                <p:cNvCxnSpPr/>
                <p:nvPr/>
              </p:nvCxnSpPr>
              <p:spPr>
                <a:xfrm rot="2300163" flipV="1">
                  <a:off x="4583073" y="2199848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Gerade Verbindung mit Pfeil 334"/>
                <p:cNvCxnSpPr/>
                <p:nvPr/>
              </p:nvCxnSpPr>
              <p:spPr>
                <a:xfrm rot="2300163">
                  <a:off x="4463363" y="2351232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Gerade Verbindung mit Pfeil 335"/>
                <p:cNvCxnSpPr/>
                <p:nvPr/>
              </p:nvCxnSpPr>
              <p:spPr>
                <a:xfrm rot="7700163" flipV="1">
                  <a:off x="4593828" y="2334047"/>
                  <a:ext cx="0" cy="6246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Gerade Verbindung mit Pfeil 336"/>
                <p:cNvCxnSpPr/>
                <p:nvPr/>
              </p:nvCxnSpPr>
              <p:spPr>
                <a:xfrm rot="18500163" flipV="1">
                  <a:off x="4457719" y="2226415"/>
                  <a:ext cx="0" cy="6246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Gerade Verbindung mit Pfeil 337"/>
                <p:cNvCxnSpPr/>
                <p:nvPr/>
              </p:nvCxnSpPr>
              <p:spPr>
                <a:xfrm rot="5000163" flipV="1">
                  <a:off x="4616690" y="2259746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Gerade Verbindung mit Pfeil 338"/>
                <p:cNvCxnSpPr/>
                <p:nvPr/>
              </p:nvCxnSpPr>
              <p:spPr>
                <a:xfrm rot="21200163">
                  <a:off x="4524957" y="2375750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Gerade Verbindung mit Pfeil 339"/>
                <p:cNvCxnSpPr/>
                <p:nvPr/>
              </p:nvCxnSpPr>
              <p:spPr>
                <a:xfrm rot="5000163" flipH="1">
                  <a:off x="4427522" y="2298701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Gerade Verbindung mit Pfeil 340"/>
                <p:cNvCxnSpPr/>
                <p:nvPr/>
              </p:nvCxnSpPr>
              <p:spPr>
                <a:xfrm rot="21200163" flipH="1" flipV="1">
                  <a:off x="4517038" y="2180944"/>
                  <a:ext cx="0" cy="74593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4" name="Ellipse 623"/>
                <p:cNvSpPr/>
                <p:nvPr/>
              </p:nvSpPr>
              <p:spPr>
                <a:xfrm rot="2300163">
                  <a:off x="4828487" y="2427266"/>
                  <a:ext cx="51666" cy="56330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25" name="Gerade Verbindung mit Pfeil 624"/>
                <p:cNvCxnSpPr/>
                <p:nvPr/>
              </p:nvCxnSpPr>
              <p:spPr>
                <a:xfrm rot="2300163" flipV="1">
                  <a:off x="4937522" y="2296901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6" name="Gerade Verbindung mit Pfeil 625"/>
                <p:cNvCxnSpPr/>
                <p:nvPr/>
              </p:nvCxnSpPr>
              <p:spPr>
                <a:xfrm rot="2300163">
                  <a:off x="4766400" y="2513299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7" name="Gerade Verbindung mit Pfeil 626"/>
                <p:cNvCxnSpPr/>
                <p:nvPr/>
              </p:nvCxnSpPr>
              <p:spPr>
                <a:xfrm rot="7700163" flipV="1">
                  <a:off x="4962285" y="2491907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8" name="Gerade Verbindung mit Pfeil 627"/>
                <p:cNvCxnSpPr/>
                <p:nvPr/>
              </p:nvCxnSpPr>
              <p:spPr>
                <a:xfrm rot="18500163" flipV="1">
                  <a:off x="4749189" y="2323395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Gerade Verbindung mit Pfeil 628"/>
                <p:cNvCxnSpPr/>
                <p:nvPr/>
              </p:nvCxnSpPr>
              <p:spPr>
                <a:xfrm rot="5000163" flipV="1">
                  <a:off x="4992360" y="2387889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1" name="Gerade Verbindung mit Pfeil 630"/>
                <p:cNvCxnSpPr/>
                <p:nvPr/>
              </p:nvCxnSpPr>
              <p:spPr>
                <a:xfrm rot="5000163" flipH="1">
                  <a:off x="4708684" y="2433083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2" name="Gerade Verbindung mit Pfeil 631"/>
                <p:cNvCxnSpPr/>
                <p:nvPr/>
              </p:nvCxnSpPr>
              <p:spPr>
                <a:xfrm rot="21200163" flipH="1" flipV="1">
                  <a:off x="4836343" y="2264515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4" name="Ellipse 633"/>
                <p:cNvSpPr/>
                <p:nvPr/>
              </p:nvSpPr>
              <p:spPr>
                <a:xfrm rot="2300163">
                  <a:off x="4800329" y="2124013"/>
                  <a:ext cx="51666" cy="56330"/>
                </a:xfrm>
                <a:prstGeom prst="ellipse">
                  <a:avLst/>
                </a:prstGeom>
                <a:solidFill>
                  <a:srgbClr val="C00000"/>
                </a:solidFill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35" name="Gerade Verbindung mit Pfeil 634"/>
                <p:cNvCxnSpPr/>
                <p:nvPr/>
              </p:nvCxnSpPr>
              <p:spPr>
                <a:xfrm rot="2300163" flipV="1">
                  <a:off x="4909364" y="1993648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6" name="Gerade Verbindung mit Pfeil 635"/>
                <p:cNvCxnSpPr/>
                <p:nvPr/>
              </p:nvCxnSpPr>
              <p:spPr>
                <a:xfrm rot="2300163">
                  <a:off x="4738242" y="2210046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Gerade Verbindung mit Pfeil 636"/>
                <p:cNvCxnSpPr/>
                <p:nvPr/>
              </p:nvCxnSpPr>
              <p:spPr>
                <a:xfrm rot="7700163" flipV="1">
                  <a:off x="4934127" y="2188654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8" name="Gerade Verbindung mit Pfeil 637"/>
                <p:cNvCxnSpPr/>
                <p:nvPr/>
              </p:nvCxnSpPr>
              <p:spPr>
                <a:xfrm rot="18500163" flipV="1">
                  <a:off x="4721031" y="2020142"/>
                  <a:ext cx="0" cy="97801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9" name="Gerade Verbindung mit Pfeil 638"/>
                <p:cNvCxnSpPr/>
                <p:nvPr/>
              </p:nvCxnSpPr>
              <p:spPr>
                <a:xfrm rot="5000163" flipV="1">
                  <a:off x="4964202" y="2084636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0" name="Gerade Verbindung mit Pfeil 639"/>
                <p:cNvCxnSpPr/>
                <p:nvPr/>
              </p:nvCxnSpPr>
              <p:spPr>
                <a:xfrm rot="21200163">
                  <a:off x="4833073" y="2250460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Gerade Verbindung mit Pfeil 640"/>
                <p:cNvCxnSpPr/>
                <p:nvPr/>
              </p:nvCxnSpPr>
              <p:spPr>
                <a:xfrm rot="5000163" flipH="1">
                  <a:off x="4680526" y="2129830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2" name="Gerade Verbindung mit Pfeil 641"/>
                <p:cNvCxnSpPr/>
                <p:nvPr/>
              </p:nvCxnSpPr>
              <p:spPr>
                <a:xfrm rot="21200163" flipH="1" flipV="1">
                  <a:off x="4808185" y="1961262"/>
                  <a:ext cx="0" cy="106628"/>
                </a:xfrm>
                <a:prstGeom prst="straightConnector1">
                  <a:avLst/>
                </a:prstGeom>
                <a:ln w="0">
                  <a:solidFill>
                    <a:srgbClr val="FF0000">
                      <a:alpha val="50000"/>
                    </a:srgbClr>
                  </a:solidFill>
                  <a:headEnd w="sm" len="sm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" name="Gruppieren 9"/>
                <p:cNvGrpSpPr/>
                <p:nvPr/>
              </p:nvGrpSpPr>
              <p:grpSpPr>
                <a:xfrm>
                  <a:off x="3924680" y="855430"/>
                  <a:ext cx="822498" cy="350196"/>
                  <a:chOff x="3924680" y="965740"/>
                  <a:chExt cx="822498" cy="350196"/>
                </a:xfrm>
              </p:grpSpPr>
              <p:cxnSp>
                <p:nvCxnSpPr>
                  <p:cNvPr id="270" name="Gerade Verbindung mit Pfeil 269"/>
                  <p:cNvCxnSpPr/>
                  <p:nvPr/>
                </p:nvCxnSpPr>
                <p:spPr>
                  <a:xfrm flipV="1">
                    <a:off x="4450232" y="965740"/>
                    <a:ext cx="0" cy="259767"/>
                  </a:xfrm>
                  <a:prstGeom prst="straightConnector1">
                    <a:avLst/>
                  </a:prstGeom>
                  <a:ln w="12700">
                    <a:solidFill>
                      <a:schemeClr val="tx1"/>
                    </a:solidFill>
                    <a:tailEnd type="triangle" w="lg" len="lg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71" name="Textfeld 270"/>
                  <p:cNvSpPr txBox="1"/>
                  <p:nvPr/>
                </p:nvSpPr>
                <p:spPr>
                  <a:xfrm>
                    <a:off x="3924680" y="1069715"/>
                    <a:ext cx="822498" cy="246221"/>
                  </a:xfrm>
                  <a:prstGeom prst="rect">
                    <a:avLst/>
                  </a:prstGeom>
                  <a:noFill/>
                  <a:ln w="1270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000" dirty="0" err="1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v</a:t>
                    </a:r>
                    <a:r>
                      <a:rPr lang="en-US" sz="1000" baseline="-25000" dirty="0" err="1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h</a:t>
                    </a:r>
                    <a:endPara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sp>
              <p:nvSpPr>
                <p:cNvPr id="291" name="Textfeld 290"/>
                <p:cNvSpPr txBox="1"/>
                <p:nvPr/>
              </p:nvSpPr>
              <p:spPr>
                <a:xfrm>
                  <a:off x="4755096" y="2017139"/>
                  <a:ext cx="870640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q</a:t>
                  </a:r>
                  <a:r>
                    <a:rPr lang="en-US" sz="1000" baseline="-25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friction</a:t>
                  </a:r>
                  <a:endParaRPr lang="en-US" sz="10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92" name="Textfeld 291"/>
                <p:cNvSpPr txBox="1"/>
                <p:nvPr/>
              </p:nvSpPr>
              <p:spPr>
                <a:xfrm>
                  <a:off x="4499992" y="2462699"/>
                  <a:ext cx="870640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q</a:t>
                  </a:r>
                  <a:r>
                    <a:rPr lang="en-US" sz="1000" baseline="-25000" dirty="0" err="1" smtClean="0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rubb</a:t>
                  </a:r>
                  <a:endParaRPr lang="en-US" sz="10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26" name="Freihandform 225"/>
                <p:cNvSpPr/>
                <p:nvPr/>
              </p:nvSpPr>
              <p:spPr>
                <a:xfrm rot="20173894">
                  <a:off x="3906000" y="973852"/>
                  <a:ext cx="404103" cy="1054116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41275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24" name="Gerade Verbindung 223"/>
                <p:cNvCxnSpPr/>
                <p:nvPr/>
              </p:nvCxnSpPr>
              <p:spPr>
                <a:xfrm>
                  <a:off x="4206451" y="1269602"/>
                  <a:ext cx="596412" cy="1978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1" name="Gerade Verbindung 300"/>
                <p:cNvCxnSpPr/>
                <p:nvPr/>
              </p:nvCxnSpPr>
              <p:spPr>
                <a:xfrm>
                  <a:off x="4217155" y="1735017"/>
                  <a:ext cx="637165" cy="5355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" name="Gerade Verbindung 234"/>
                <p:cNvCxnSpPr/>
                <p:nvPr/>
              </p:nvCxnSpPr>
              <p:spPr>
                <a:xfrm flipH="1">
                  <a:off x="4739975" y="1115197"/>
                  <a:ext cx="389679" cy="1346754"/>
                </a:xfrm>
                <a:prstGeom prst="line">
                  <a:avLst/>
                </a:prstGeom>
                <a:noFill/>
                <a:ln w="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236" name="Gerade Verbindung 235"/>
                <p:cNvCxnSpPr/>
                <p:nvPr/>
              </p:nvCxnSpPr>
              <p:spPr>
                <a:xfrm flipH="1">
                  <a:off x="4941104" y="2366600"/>
                  <a:ext cx="560701" cy="88132"/>
                </a:xfrm>
                <a:prstGeom prst="line">
                  <a:avLst/>
                </a:prstGeom>
                <a:noFill/>
                <a:ln w="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256" name="Textfeld 255"/>
                <p:cNvSpPr txBox="1"/>
                <p:nvPr/>
              </p:nvSpPr>
              <p:spPr>
                <a:xfrm>
                  <a:off x="4055031" y="2663414"/>
                  <a:ext cx="822498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Work piece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75" name="Gerade Verbindung 274"/>
                <p:cNvCxnSpPr/>
                <p:nvPr/>
              </p:nvCxnSpPr>
              <p:spPr>
                <a:xfrm>
                  <a:off x="4234785" y="1494063"/>
                  <a:ext cx="607745" cy="41521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9" name="Textfeld 278"/>
                <p:cNvSpPr txBox="1"/>
                <p:nvPr/>
              </p:nvSpPr>
              <p:spPr>
                <a:xfrm>
                  <a:off x="3478015" y="1366877"/>
                  <a:ext cx="822498" cy="21254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anel </a:t>
                  </a:r>
                  <a:r>
                    <a:rPr lang="el-GR" sz="1000" dirty="0" smtClean="0">
                      <a:latin typeface="Arial"/>
                      <a:cs typeface="Arial"/>
                    </a:rPr>
                    <a:t>ξ</a:t>
                  </a:r>
                  <a:r>
                    <a:rPr lang="de-DE" sz="1000" dirty="0" smtClean="0">
                      <a:latin typeface="Arial"/>
                      <a:cs typeface="Arial"/>
                    </a:rPr>
                    <a:t> + </a:t>
                  </a:r>
                  <a:r>
                    <a:rPr lang="de-DE" sz="1000" dirty="0">
                      <a:latin typeface="Arial"/>
                      <a:cs typeface="Arial"/>
                    </a:rPr>
                    <a:t>1</a:t>
                  </a:r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0" name="Textfeld 279"/>
                <p:cNvSpPr txBox="1"/>
                <p:nvPr/>
              </p:nvSpPr>
              <p:spPr>
                <a:xfrm>
                  <a:off x="3444219" y="1586151"/>
                  <a:ext cx="822498" cy="246221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Panel </a:t>
                  </a:r>
                  <a:r>
                    <a:rPr lang="el-GR" sz="1000" dirty="0" smtClean="0">
                      <a:latin typeface="Arial"/>
                      <a:cs typeface="Arial"/>
                    </a:rPr>
                    <a:t>ξ</a:t>
                  </a:r>
                  <a:r>
                    <a:rPr lang="en-US" sz="1000" dirty="0" smtClean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endParaRPr lang="en-US" sz="10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18" name="Gruppieren 17"/>
                <p:cNvGrpSpPr/>
                <p:nvPr/>
              </p:nvGrpSpPr>
              <p:grpSpPr>
                <a:xfrm>
                  <a:off x="3071428" y="2085230"/>
                  <a:ext cx="822498" cy="310558"/>
                  <a:chOff x="2574614" y="1946487"/>
                  <a:chExt cx="822498" cy="310558"/>
                </a:xfrm>
              </p:grpSpPr>
              <p:cxnSp>
                <p:nvCxnSpPr>
                  <p:cNvPr id="289" name="Gerade Verbindung mit Pfeil 288"/>
                  <p:cNvCxnSpPr/>
                  <p:nvPr/>
                </p:nvCxnSpPr>
                <p:spPr>
                  <a:xfrm>
                    <a:off x="2854120" y="2257045"/>
                    <a:ext cx="360040" cy="0"/>
                  </a:xfrm>
                  <a:prstGeom prst="straightConnector1">
                    <a:avLst/>
                  </a:prstGeom>
                  <a:ln w="12700">
                    <a:solidFill>
                      <a:schemeClr val="tx1"/>
                    </a:solidFill>
                    <a:tailEnd type="triangle" w="lg" len="lg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81" name="Textfeld 280"/>
                  <p:cNvSpPr txBox="1"/>
                  <p:nvPr/>
                </p:nvSpPr>
                <p:spPr>
                  <a:xfrm>
                    <a:off x="2574614" y="1946487"/>
                    <a:ext cx="822498" cy="271066"/>
                  </a:xfrm>
                  <a:prstGeom prst="rect">
                    <a:avLst/>
                  </a:prstGeom>
                  <a:noFill/>
                  <a:ln w="12700">
                    <a:noFill/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1000" dirty="0" err="1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v</a:t>
                    </a:r>
                    <a:r>
                      <a:rPr lang="en-US" sz="1000" baseline="-25000" dirty="0" err="1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c</a:t>
                    </a:r>
                    <a:endPara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sp>
              <p:nvSpPr>
                <p:cNvPr id="293" name="Freihandform 292"/>
                <p:cNvSpPr/>
                <p:nvPr/>
              </p:nvSpPr>
              <p:spPr>
                <a:xfrm rot="20227854">
                  <a:off x="4514610" y="875858"/>
                  <a:ext cx="404103" cy="1366495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  <a:gd name="connsiteX0" fmla="*/ 0 w 417400"/>
                    <a:gd name="connsiteY0" fmla="*/ 2059710 h 2059710"/>
                    <a:gd name="connsiteX1" fmla="*/ 398809 w 417400"/>
                    <a:gd name="connsiteY1" fmla="*/ 690912 h 2059710"/>
                    <a:gd name="connsiteX2" fmla="*/ 304799 w 417400"/>
                    <a:gd name="connsiteY2" fmla="*/ 0 h 2059710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398809"/>
                    <a:gd name="connsiteY0" fmla="*/ 1368798 h 1368798"/>
                    <a:gd name="connsiteX1" fmla="*/ 398809 w 398809"/>
                    <a:gd name="connsiteY1" fmla="*/ 0 h 1368798"/>
                    <a:gd name="connsiteX0" fmla="*/ 0 w 402995"/>
                    <a:gd name="connsiteY0" fmla="*/ 1368798 h 1368798"/>
                    <a:gd name="connsiteX1" fmla="*/ 398809 w 402995"/>
                    <a:gd name="connsiteY1" fmla="*/ 0 h 1368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2995" h="1368798">
                      <a:moveTo>
                        <a:pt x="0" y="1368798"/>
                      </a:moveTo>
                      <a:cubicBezTo>
                        <a:pt x="290922" y="1059615"/>
                        <a:pt x="429502" y="392818"/>
                        <a:pt x="398809" y="0"/>
                      </a:cubicBezTo>
                    </a:path>
                  </a:pathLst>
                </a:custGeom>
                <a:noFill/>
                <a:ln w="0">
                  <a:solidFill>
                    <a:schemeClr val="tx1"/>
                  </a:solidFill>
                  <a:prstDash val="solid"/>
                  <a:tail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v</a:t>
                  </a:r>
                </a:p>
              </p:txBody>
            </p:sp>
            <p:cxnSp>
              <p:nvCxnSpPr>
                <p:cNvPr id="295" name="Gerade Verbindung 294"/>
                <p:cNvCxnSpPr/>
                <p:nvPr/>
              </p:nvCxnSpPr>
              <p:spPr>
                <a:xfrm flipH="1">
                  <a:off x="3472910" y="2067082"/>
                  <a:ext cx="715691" cy="4768"/>
                </a:xfrm>
                <a:prstGeom prst="line">
                  <a:avLst/>
                </a:prstGeom>
                <a:noFill/>
                <a:ln w="0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tailEnd type="non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cxnSp>
            <p:nvCxnSpPr>
              <p:cNvPr id="24" name="Gerade Verbindung mit Pfeil 23"/>
              <p:cNvCxnSpPr/>
              <p:nvPr/>
            </p:nvCxnSpPr>
            <p:spPr>
              <a:xfrm flipV="1">
                <a:off x="4191065" y="2153524"/>
                <a:ext cx="161103" cy="293984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sysDot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0" name="Textfeld 299"/>
              <p:cNvSpPr txBox="1"/>
              <p:nvPr/>
            </p:nvSpPr>
            <p:spPr>
              <a:xfrm>
                <a:off x="3419380" y="2564904"/>
                <a:ext cx="1008604" cy="24622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err="1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</a:t>
                </a:r>
                <a:r>
                  <a:rPr lang="en-US" sz="1000" baseline="-25000" dirty="0" err="1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ear,wp</a:t>
                </a:r>
                <a:endParaRPr lang="en-US" sz="10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02" name="Gerade Verbindung mit Pfeil 301"/>
              <p:cNvCxnSpPr/>
              <p:nvPr/>
            </p:nvCxnSpPr>
            <p:spPr>
              <a:xfrm flipV="1">
                <a:off x="4314813" y="1690906"/>
                <a:ext cx="9967" cy="21156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sysDot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Gerade Verbindung mit Pfeil 302"/>
              <p:cNvCxnSpPr/>
              <p:nvPr/>
            </p:nvCxnSpPr>
            <p:spPr>
              <a:xfrm flipV="1">
                <a:off x="4308706" y="1404825"/>
                <a:ext cx="9967" cy="21156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sysDot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Gerade Verbindung mit Pfeil 303"/>
              <p:cNvCxnSpPr/>
              <p:nvPr/>
            </p:nvCxnSpPr>
            <p:spPr>
              <a:xfrm flipV="1">
                <a:off x="4277968" y="1136199"/>
                <a:ext cx="9967" cy="21156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sysDot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Gerade Verbindung mit Pfeil 304"/>
              <p:cNvCxnSpPr/>
              <p:nvPr/>
            </p:nvCxnSpPr>
            <p:spPr>
              <a:xfrm flipH="1">
                <a:off x="4068002" y="2473690"/>
                <a:ext cx="111503" cy="191304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sysDot"/>
                <a:tailEnd type="triangle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8" name="Textfeld 307"/>
            <p:cNvSpPr txBox="1"/>
            <p:nvPr/>
          </p:nvSpPr>
          <p:spPr>
            <a:xfrm>
              <a:off x="3098800" y="1220255"/>
              <a:ext cx="952834" cy="24622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anel </a:t>
              </a:r>
              <a:r>
                <a:rPr lang="el-GR" sz="1000" dirty="0" smtClean="0">
                  <a:latin typeface="Arial"/>
                  <a:cs typeface="Arial"/>
                </a:rPr>
                <a:t>ξ</a:t>
              </a:r>
              <a:r>
                <a:rPr lang="de-DE" sz="1000" dirty="0" smtClean="0">
                  <a:latin typeface="Arial"/>
                  <a:cs typeface="Arial"/>
                </a:rPr>
                <a:t> + η</a:t>
              </a:r>
              <a:r>
                <a:rPr lang="en-US" sz="1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7794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/>
        </p:nvGrpSpPr>
        <p:grpSpPr>
          <a:xfrm>
            <a:off x="326172" y="453524"/>
            <a:ext cx="5733642" cy="4636215"/>
            <a:chOff x="2041236" y="727759"/>
            <a:chExt cx="4350328" cy="3595996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2041236" y="727759"/>
              <a:ext cx="4350328" cy="3595996"/>
              <a:chOff x="2041236" y="727759"/>
              <a:chExt cx="4350328" cy="3595996"/>
            </a:xfrm>
          </p:grpSpPr>
          <p:grpSp>
            <p:nvGrpSpPr>
              <p:cNvPr id="17" name="Gruppieren 16"/>
              <p:cNvGrpSpPr/>
              <p:nvPr/>
            </p:nvGrpSpPr>
            <p:grpSpPr>
              <a:xfrm>
                <a:off x="3779912" y="727759"/>
                <a:ext cx="935164" cy="2735873"/>
                <a:chOff x="6742416" y="3265227"/>
                <a:chExt cx="935164" cy="2735873"/>
              </a:xfrm>
            </p:grpSpPr>
            <p:sp>
              <p:nvSpPr>
                <p:cNvPr id="49" name="Freihandform 48"/>
                <p:cNvSpPr/>
                <p:nvPr/>
              </p:nvSpPr>
              <p:spPr>
                <a:xfrm>
                  <a:off x="6777480" y="3265227"/>
                  <a:ext cx="633890" cy="2089538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3890" h="2089538">
                      <a:moveTo>
                        <a:pt x="0" y="2087418"/>
                      </a:moveTo>
                      <a:cubicBezTo>
                        <a:pt x="484909" y="2159769"/>
                        <a:pt x="775854" y="358679"/>
                        <a:pt x="563418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" name="Rechteck 49"/>
                <p:cNvSpPr/>
                <p:nvPr/>
              </p:nvSpPr>
              <p:spPr>
                <a:xfrm>
                  <a:off x="6742416" y="4056884"/>
                  <a:ext cx="935164" cy="194421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18" name="Gruppieren 17"/>
              <p:cNvGrpSpPr/>
              <p:nvPr/>
            </p:nvGrpSpPr>
            <p:grpSpPr>
              <a:xfrm>
                <a:off x="4158424" y="727760"/>
                <a:ext cx="2160240" cy="2376264"/>
                <a:chOff x="4139952" y="908720"/>
                <a:chExt cx="2160240" cy="2376264"/>
              </a:xfrm>
            </p:grpSpPr>
            <p:grpSp>
              <p:nvGrpSpPr>
                <p:cNvPr id="45" name="Gruppieren 44"/>
                <p:cNvGrpSpPr/>
                <p:nvPr/>
              </p:nvGrpSpPr>
              <p:grpSpPr>
                <a:xfrm>
                  <a:off x="4139952" y="908720"/>
                  <a:ext cx="2160240" cy="2376264"/>
                  <a:chOff x="4139952" y="908720"/>
                  <a:chExt cx="2160240" cy="2376264"/>
                </a:xfrm>
              </p:grpSpPr>
              <p:cxnSp>
                <p:nvCxnSpPr>
                  <p:cNvPr id="47" name="Gerade Verbindung 46"/>
                  <p:cNvCxnSpPr/>
                  <p:nvPr/>
                </p:nvCxnSpPr>
                <p:spPr>
                  <a:xfrm flipH="1">
                    <a:off x="4139952" y="908720"/>
                    <a:ext cx="432048" cy="237626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Gerade Verbindung 47"/>
                  <p:cNvCxnSpPr/>
                  <p:nvPr/>
                </p:nvCxnSpPr>
                <p:spPr>
                  <a:xfrm flipH="1">
                    <a:off x="4139952" y="3068960"/>
                    <a:ext cx="2160240" cy="21602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6" name="Gerade Verbindung 27"/>
                <p:cNvCxnSpPr/>
                <p:nvPr/>
              </p:nvCxnSpPr>
              <p:spPr>
                <a:xfrm rot="16200000" flipH="1">
                  <a:off x="4355976" y="1124744"/>
                  <a:ext cx="2160240" cy="1728192"/>
                </a:xfrm>
                <a:prstGeom prst="curvedConnector3">
                  <a:avLst>
                    <a:gd name="adj1" fmla="val 50000"/>
                  </a:avLst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uppieren 18"/>
              <p:cNvGrpSpPr/>
              <p:nvPr/>
            </p:nvGrpSpPr>
            <p:grpSpPr>
              <a:xfrm>
                <a:off x="2047960" y="763397"/>
                <a:ext cx="1874940" cy="2089540"/>
                <a:chOff x="2069203" y="740761"/>
                <a:chExt cx="1874940" cy="2089540"/>
              </a:xfrm>
            </p:grpSpPr>
            <p:sp>
              <p:nvSpPr>
                <p:cNvPr id="43" name="Freihandform 42"/>
                <p:cNvSpPr/>
                <p:nvPr/>
              </p:nvSpPr>
              <p:spPr>
                <a:xfrm>
                  <a:off x="3544247" y="740761"/>
                  <a:ext cx="399896" cy="2059735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896" h="2059735">
                      <a:moveTo>
                        <a:pt x="0" y="2059710"/>
                      </a:moveTo>
                      <a:cubicBezTo>
                        <a:pt x="355599" y="2067407"/>
                        <a:pt x="517235" y="358679"/>
                        <a:pt x="304799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44" name="Gerade Verbindung 43"/>
                <p:cNvCxnSpPr>
                  <a:endCxn id="43" idx="0"/>
                </p:cNvCxnSpPr>
                <p:nvPr/>
              </p:nvCxnSpPr>
              <p:spPr>
                <a:xfrm flipV="1">
                  <a:off x="2069203" y="2800471"/>
                  <a:ext cx="1475044" cy="29830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cxnSp>
            <p:nvCxnSpPr>
              <p:cNvPr id="20" name="Gerade Verbindung 19"/>
              <p:cNvCxnSpPr/>
              <p:nvPr/>
            </p:nvCxnSpPr>
            <p:spPr>
              <a:xfrm flipH="1">
                <a:off x="4158424" y="1536603"/>
                <a:ext cx="290442" cy="1567421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prstDash val="sysDot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>
              <a:xfrm>
                <a:off x="4158424" y="3104024"/>
                <a:ext cx="2213776" cy="0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" name="Gerade Verbindung 21"/>
              <p:cNvCxnSpPr/>
              <p:nvPr/>
            </p:nvCxnSpPr>
            <p:spPr>
              <a:xfrm>
                <a:off x="3635896" y="2823107"/>
                <a:ext cx="504056" cy="262445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prstDash val="sysDot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feld 22"/>
              <p:cNvSpPr txBox="1"/>
              <p:nvPr/>
            </p:nvSpPr>
            <p:spPr>
              <a:xfrm>
                <a:off x="5481245" y="2473019"/>
                <a:ext cx="773616" cy="23872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 dirty="0" err="1"/>
                  <a:t>Werkzeug</a:t>
                </a:r>
                <a:endParaRPr lang="en-US" dirty="0"/>
              </a:p>
            </p:txBody>
          </p:sp>
          <p:grpSp>
            <p:nvGrpSpPr>
              <p:cNvPr id="24" name="Gruppieren 23"/>
              <p:cNvGrpSpPr/>
              <p:nvPr/>
            </p:nvGrpSpPr>
            <p:grpSpPr>
              <a:xfrm>
                <a:off x="2217503" y="2197857"/>
                <a:ext cx="1586416" cy="310854"/>
                <a:chOff x="4274611" y="2197857"/>
                <a:chExt cx="1586416" cy="310854"/>
              </a:xfrm>
            </p:grpSpPr>
            <p:cxnSp>
              <p:nvCxnSpPr>
                <p:cNvPr id="41" name="Gerade Verbindung mit Pfeil 40"/>
                <p:cNvCxnSpPr/>
                <p:nvPr/>
              </p:nvCxnSpPr>
              <p:spPr>
                <a:xfrm flipH="1">
                  <a:off x="4590472" y="2508711"/>
                  <a:ext cx="989640" cy="0"/>
                </a:xfrm>
                <a:prstGeom prst="straightConnector1">
                  <a:avLst/>
                </a:prstGeom>
                <a:ln w="12700">
                  <a:solidFill>
                    <a:schemeClr val="tx1"/>
                  </a:solidFill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feld 41"/>
                <p:cNvSpPr txBox="1"/>
                <p:nvPr/>
              </p:nvSpPr>
              <p:spPr>
                <a:xfrm>
                  <a:off x="4274611" y="2197857"/>
                  <a:ext cx="1586416" cy="238722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 dirty="0" err="1" smtClean="0">
                      <a:latin typeface="Arial" panose="020B0604020202020204" pitchFamily="34" charset="0"/>
                      <a:cs typeface="Arial" panose="020B0604020202020204" pitchFamily="34" charset="0"/>
                    </a:rPr>
                    <a:t>Schnittrichtung</a:t>
                  </a:r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5" name="Textfeld 24"/>
              <p:cNvSpPr txBox="1"/>
              <p:nvPr/>
            </p:nvSpPr>
            <p:spPr>
              <a:xfrm>
                <a:off x="3732919" y="750939"/>
                <a:ext cx="773616" cy="23872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 dirty="0"/>
                  <a:t>Span</a:t>
                </a:r>
              </a:p>
            </p:txBody>
          </p:sp>
          <p:sp>
            <p:nvSpPr>
              <p:cNvPr id="26" name="Freihandform 25"/>
              <p:cNvSpPr/>
              <p:nvPr/>
            </p:nvSpPr>
            <p:spPr>
              <a:xfrm>
                <a:off x="2041236" y="2854036"/>
                <a:ext cx="4350328" cy="1469719"/>
              </a:xfrm>
              <a:custGeom>
                <a:avLst/>
                <a:gdLst>
                  <a:gd name="connsiteX0" fmla="*/ 0 w 4350328"/>
                  <a:gd name="connsiteY0" fmla="*/ 0 h 1432846"/>
                  <a:gd name="connsiteX1" fmla="*/ 1902691 w 4350328"/>
                  <a:gd name="connsiteY1" fmla="*/ 1431637 h 1432846"/>
                  <a:gd name="connsiteX2" fmla="*/ 4350328 w 4350328"/>
                  <a:gd name="connsiteY2" fmla="*/ 249382 h 1432846"/>
                  <a:gd name="connsiteX0" fmla="*/ 0 w 4350328"/>
                  <a:gd name="connsiteY0" fmla="*/ 0 h 1469719"/>
                  <a:gd name="connsiteX1" fmla="*/ 1902691 w 4350328"/>
                  <a:gd name="connsiteY1" fmla="*/ 1431637 h 1469719"/>
                  <a:gd name="connsiteX2" fmla="*/ 3084946 w 4350328"/>
                  <a:gd name="connsiteY2" fmla="*/ 988291 h 1469719"/>
                  <a:gd name="connsiteX3" fmla="*/ 4350328 w 4350328"/>
                  <a:gd name="connsiteY3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902691 w 4350328"/>
                  <a:gd name="connsiteY2" fmla="*/ 1431637 h 1469719"/>
                  <a:gd name="connsiteX3" fmla="*/ 3084946 w 4350328"/>
                  <a:gd name="connsiteY3" fmla="*/ 988291 h 1469719"/>
                  <a:gd name="connsiteX4" fmla="*/ 4350328 w 4350328"/>
                  <a:gd name="connsiteY4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3629891 w 4350328"/>
                  <a:gd name="connsiteY5" fmla="*/ 738909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184073 w 4350328"/>
                  <a:gd name="connsiteY5" fmla="*/ 988291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184073 w 4350328"/>
                  <a:gd name="connsiteY5" fmla="*/ 988291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812800 w 4350328"/>
                  <a:gd name="connsiteY2" fmla="*/ 979055 h 1469719"/>
                  <a:gd name="connsiteX3" fmla="*/ 1348509 w 4350328"/>
                  <a:gd name="connsiteY3" fmla="*/ 1219200 h 1469719"/>
                  <a:gd name="connsiteX4" fmla="*/ 1902691 w 4350328"/>
                  <a:gd name="connsiteY4" fmla="*/ 1431637 h 1469719"/>
                  <a:gd name="connsiteX5" fmla="*/ 3084946 w 4350328"/>
                  <a:gd name="connsiteY5" fmla="*/ 988291 h 1469719"/>
                  <a:gd name="connsiteX6" fmla="*/ 4184073 w 4350328"/>
                  <a:gd name="connsiteY6" fmla="*/ 988291 h 1469719"/>
                  <a:gd name="connsiteX7" fmla="*/ 4350328 w 4350328"/>
                  <a:gd name="connsiteY7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812800 w 4350328"/>
                  <a:gd name="connsiteY2" fmla="*/ 979055 h 1469719"/>
                  <a:gd name="connsiteX3" fmla="*/ 1348509 w 4350328"/>
                  <a:gd name="connsiteY3" fmla="*/ 1219200 h 1469719"/>
                  <a:gd name="connsiteX4" fmla="*/ 1902691 w 4350328"/>
                  <a:gd name="connsiteY4" fmla="*/ 1431637 h 1469719"/>
                  <a:gd name="connsiteX5" fmla="*/ 3084946 w 4350328"/>
                  <a:gd name="connsiteY5" fmla="*/ 988291 h 1469719"/>
                  <a:gd name="connsiteX6" fmla="*/ 4184073 w 4350328"/>
                  <a:gd name="connsiteY6" fmla="*/ 988291 h 1469719"/>
                  <a:gd name="connsiteX7" fmla="*/ 4350328 w 4350328"/>
                  <a:gd name="connsiteY7" fmla="*/ 249382 h 146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50328" h="1469719">
                    <a:moveTo>
                      <a:pt x="0" y="0"/>
                    </a:moveTo>
                    <a:cubicBezTo>
                      <a:pt x="129309" y="140085"/>
                      <a:pt x="-132387" y="398703"/>
                      <a:pt x="193964" y="572655"/>
                    </a:cubicBezTo>
                    <a:cubicBezTo>
                      <a:pt x="329431" y="735831"/>
                      <a:pt x="703503" y="686571"/>
                      <a:pt x="812800" y="979055"/>
                    </a:cubicBezTo>
                    <a:cubicBezTo>
                      <a:pt x="1005224" y="1086813"/>
                      <a:pt x="1166861" y="1143770"/>
                      <a:pt x="1348509" y="1219200"/>
                    </a:cubicBezTo>
                    <a:cubicBezTo>
                      <a:pt x="1536315" y="1317721"/>
                      <a:pt x="1613285" y="1470122"/>
                      <a:pt x="1902691" y="1431637"/>
                    </a:cubicBezTo>
                    <a:cubicBezTo>
                      <a:pt x="2416849" y="1596352"/>
                      <a:pt x="2677006" y="1185334"/>
                      <a:pt x="3084946" y="988291"/>
                    </a:cubicBezTo>
                    <a:cubicBezTo>
                      <a:pt x="3372813" y="872836"/>
                      <a:pt x="3973176" y="1111443"/>
                      <a:pt x="4184073" y="988291"/>
                    </a:cubicBezTo>
                    <a:cubicBezTo>
                      <a:pt x="4394970" y="865140"/>
                      <a:pt x="4230255" y="330970"/>
                      <a:pt x="4350328" y="249382"/>
                    </a:cubicBezTo>
                  </a:path>
                </a:pathLst>
              </a:cu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Freihandform 26"/>
              <p:cNvSpPr/>
              <p:nvPr/>
            </p:nvSpPr>
            <p:spPr>
              <a:xfrm>
                <a:off x="4248727" y="2050473"/>
                <a:ext cx="182258" cy="498763"/>
              </a:xfrm>
              <a:custGeom>
                <a:avLst/>
                <a:gdLst>
                  <a:gd name="connsiteX0" fmla="*/ 0 w 182258"/>
                  <a:gd name="connsiteY0" fmla="*/ 498763 h 498763"/>
                  <a:gd name="connsiteX1" fmla="*/ 175491 w 182258"/>
                  <a:gd name="connsiteY1" fmla="*/ 230909 h 498763"/>
                  <a:gd name="connsiteX2" fmla="*/ 129309 w 182258"/>
                  <a:gd name="connsiteY2" fmla="*/ 0 h 498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258" h="498763">
                    <a:moveTo>
                      <a:pt x="0" y="498763"/>
                    </a:moveTo>
                    <a:cubicBezTo>
                      <a:pt x="76970" y="406399"/>
                      <a:pt x="153940" y="314036"/>
                      <a:pt x="175491" y="230909"/>
                    </a:cubicBezTo>
                    <a:cubicBezTo>
                      <a:pt x="197042" y="147782"/>
                      <a:pt x="163175" y="73891"/>
                      <a:pt x="129309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Freihandform 27"/>
              <p:cNvSpPr/>
              <p:nvPr/>
            </p:nvSpPr>
            <p:spPr>
              <a:xfrm>
                <a:off x="4239491" y="1838036"/>
                <a:ext cx="373098" cy="877455"/>
              </a:xfrm>
              <a:custGeom>
                <a:avLst/>
                <a:gdLst>
                  <a:gd name="connsiteX0" fmla="*/ 0 w 373098"/>
                  <a:gd name="connsiteY0" fmla="*/ 877455 h 877455"/>
                  <a:gd name="connsiteX1" fmla="*/ 369454 w 373098"/>
                  <a:gd name="connsiteY1" fmla="*/ 443346 h 877455"/>
                  <a:gd name="connsiteX2" fmla="*/ 157018 w 373098"/>
                  <a:gd name="connsiteY2" fmla="*/ 0 h 87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098" h="877455">
                    <a:moveTo>
                      <a:pt x="0" y="877455"/>
                    </a:moveTo>
                    <a:cubicBezTo>
                      <a:pt x="171642" y="733521"/>
                      <a:pt x="343284" y="589588"/>
                      <a:pt x="369454" y="443346"/>
                    </a:cubicBezTo>
                    <a:cubicBezTo>
                      <a:pt x="395624" y="297104"/>
                      <a:pt x="276321" y="148552"/>
                      <a:pt x="157018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Freihandform 28"/>
              <p:cNvSpPr/>
              <p:nvPr/>
            </p:nvSpPr>
            <p:spPr>
              <a:xfrm>
                <a:off x="4184073" y="2822832"/>
                <a:ext cx="238096" cy="262113"/>
              </a:xfrm>
              <a:custGeom>
                <a:avLst/>
                <a:gdLst>
                  <a:gd name="connsiteX0" fmla="*/ 0 w 238096"/>
                  <a:gd name="connsiteY0" fmla="*/ 58913 h 262113"/>
                  <a:gd name="connsiteX1" fmla="*/ 230909 w 238096"/>
                  <a:gd name="connsiteY1" fmla="*/ 12732 h 262113"/>
                  <a:gd name="connsiteX2" fmla="*/ 157018 w 238096"/>
                  <a:gd name="connsiteY2" fmla="*/ 262113 h 262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96" h="262113">
                    <a:moveTo>
                      <a:pt x="0" y="58913"/>
                    </a:moveTo>
                    <a:cubicBezTo>
                      <a:pt x="102369" y="18889"/>
                      <a:pt x="204739" y="-21135"/>
                      <a:pt x="230909" y="12732"/>
                    </a:cubicBezTo>
                    <a:cubicBezTo>
                      <a:pt x="257079" y="46599"/>
                      <a:pt x="207048" y="154356"/>
                      <a:pt x="157018" y="262113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Freihandform 29"/>
              <p:cNvSpPr/>
              <p:nvPr/>
            </p:nvSpPr>
            <p:spPr>
              <a:xfrm>
                <a:off x="4424218" y="1717964"/>
                <a:ext cx="469151" cy="1330036"/>
              </a:xfrm>
              <a:custGeom>
                <a:avLst/>
                <a:gdLst>
                  <a:gd name="connsiteX0" fmla="*/ 0 w 469151"/>
                  <a:gd name="connsiteY0" fmla="*/ 0 h 1330036"/>
                  <a:gd name="connsiteX1" fmla="*/ 461818 w 469151"/>
                  <a:gd name="connsiteY1" fmla="*/ 618836 h 1330036"/>
                  <a:gd name="connsiteX2" fmla="*/ 240146 w 469151"/>
                  <a:gd name="connsiteY2" fmla="*/ 1330036 h 1330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151" h="1330036">
                    <a:moveTo>
                      <a:pt x="0" y="0"/>
                    </a:moveTo>
                    <a:cubicBezTo>
                      <a:pt x="210897" y="198581"/>
                      <a:pt x="421794" y="397163"/>
                      <a:pt x="461818" y="618836"/>
                    </a:cubicBezTo>
                    <a:cubicBezTo>
                      <a:pt x="501842" y="840509"/>
                      <a:pt x="370994" y="1085272"/>
                      <a:pt x="240146" y="1330036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Freihandform 30"/>
              <p:cNvSpPr/>
              <p:nvPr/>
            </p:nvSpPr>
            <p:spPr>
              <a:xfrm>
                <a:off x="4470400" y="1477818"/>
                <a:ext cx="799827" cy="1514764"/>
              </a:xfrm>
              <a:custGeom>
                <a:avLst/>
                <a:gdLst>
                  <a:gd name="connsiteX0" fmla="*/ 0 w 799827"/>
                  <a:gd name="connsiteY0" fmla="*/ 0 h 1514764"/>
                  <a:gd name="connsiteX1" fmla="*/ 757382 w 799827"/>
                  <a:gd name="connsiteY1" fmla="*/ 775855 h 1514764"/>
                  <a:gd name="connsiteX2" fmla="*/ 637309 w 799827"/>
                  <a:gd name="connsiteY2" fmla="*/ 1514764 h 151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827" h="1514764">
                    <a:moveTo>
                      <a:pt x="0" y="0"/>
                    </a:moveTo>
                    <a:cubicBezTo>
                      <a:pt x="325582" y="261697"/>
                      <a:pt x="651164" y="523394"/>
                      <a:pt x="757382" y="775855"/>
                    </a:cubicBezTo>
                    <a:cubicBezTo>
                      <a:pt x="863600" y="1028316"/>
                      <a:pt x="750454" y="1271540"/>
                      <a:pt x="637309" y="1514764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" name="Freihandform 31"/>
              <p:cNvSpPr/>
              <p:nvPr/>
            </p:nvSpPr>
            <p:spPr>
              <a:xfrm>
                <a:off x="4155072" y="1459345"/>
                <a:ext cx="65946" cy="1283855"/>
              </a:xfrm>
              <a:custGeom>
                <a:avLst/>
                <a:gdLst>
                  <a:gd name="connsiteX0" fmla="*/ 65946 w 65946"/>
                  <a:gd name="connsiteY0" fmla="*/ 1283855 h 1283855"/>
                  <a:gd name="connsiteX1" fmla="*/ 1292 w 65946"/>
                  <a:gd name="connsiteY1" fmla="*/ 822037 h 1283855"/>
                  <a:gd name="connsiteX2" fmla="*/ 29001 w 65946"/>
                  <a:gd name="connsiteY2" fmla="*/ 0 h 1283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946" h="1283855">
                    <a:moveTo>
                      <a:pt x="65946" y="1283855"/>
                    </a:moveTo>
                    <a:cubicBezTo>
                      <a:pt x="36697" y="1159934"/>
                      <a:pt x="7449" y="1036013"/>
                      <a:pt x="1292" y="822037"/>
                    </a:cubicBezTo>
                    <a:cubicBezTo>
                      <a:pt x="-4865" y="608061"/>
                      <a:pt x="12068" y="304030"/>
                      <a:pt x="29001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" name="Freihandform 32"/>
              <p:cNvSpPr/>
              <p:nvPr/>
            </p:nvSpPr>
            <p:spPr>
              <a:xfrm>
                <a:off x="4236472" y="1450109"/>
                <a:ext cx="58437" cy="960582"/>
              </a:xfrm>
              <a:custGeom>
                <a:avLst/>
                <a:gdLst>
                  <a:gd name="connsiteX0" fmla="*/ 58437 w 58437"/>
                  <a:gd name="connsiteY0" fmla="*/ 960582 h 960582"/>
                  <a:gd name="connsiteX1" fmla="*/ 3019 w 58437"/>
                  <a:gd name="connsiteY1" fmla="*/ 618836 h 960582"/>
                  <a:gd name="connsiteX2" fmla="*/ 12255 w 58437"/>
                  <a:gd name="connsiteY2" fmla="*/ 0 h 960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37" h="960582">
                    <a:moveTo>
                      <a:pt x="58437" y="960582"/>
                    </a:moveTo>
                    <a:cubicBezTo>
                      <a:pt x="34576" y="869757"/>
                      <a:pt x="10716" y="778933"/>
                      <a:pt x="3019" y="618836"/>
                    </a:cubicBezTo>
                    <a:cubicBezTo>
                      <a:pt x="-4678" y="458739"/>
                      <a:pt x="3788" y="229369"/>
                      <a:pt x="12255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" name="Freihandform 33"/>
              <p:cNvSpPr/>
              <p:nvPr/>
            </p:nvSpPr>
            <p:spPr>
              <a:xfrm>
                <a:off x="4301126" y="1413164"/>
                <a:ext cx="58438" cy="618836"/>
              </a:xfrm>
              <a:custGeom>
                <a:avLst/>
                <a:gdLst>
                  <a:gd name="connsiteX0" fmla="*/ 58438 w 58438"/>
                  <a:gd name="connsiteY0" fmla="*/ 618836 h 618836"/>
                  <a:gd name="connsiteX1" fmla="*/ 3019 w 58438"/>
                  <a:gd name="connsiteY1" fmla="*/ 369454 h 618836"/>
                  <a:gd name="connsiteX2" fmla="*/ 12256 w 58438"/>
                  <a:gd name="connsiteY2" fmla="*/ 0 h 61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38" h="618836">
                    <a:moveTo>
                      <a:pt x="58438" y="618836"/>
                    </a:moveTo>
                    <a:cubicBezTo>
                      <a:pt x="34577" y="545714"/>
                      <a:pt x="10716" y="472593"/>
                      <a:pt x="3019" y="369454"/>
                    </a:cubicBezTo>
                    <a:cubicBezTo>
                      <a:pt x="-4678" y="266315"/>
                      <a:pt x="3789" y="133157"/>
                      <a:pt x="12256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Freihandform 34"/>
              <p:cNvSpPr/>
              <p:nvPr/>
            </p:nvSpPr>
            <p:spPr>
              <a:xfrm>
                <a:off x="3887924" y="2992582"/>
                <a:ext cx="508585" cy="287220"/>
              </a:xfrm>
              <a:custGeom>
                <a:avLst/>
                <a:gdLst>
                  <a:gd name="connsiteX0" fmla="*/ 0 w 360218"/>
                  <a:gd name="connsiteY0" fmla="*/ 0 h 231802"/>
                  <a:gd name="connsiteX1" fmla="*/ 101600 w 360218"/>
                  <a:gd name="connsiteY1" fmla="*/ 230909 h 231802"/>
                  <a:gd name="connsiteX2" fmla="*/ 360218 w 360218"/>
                  <a:gd name="connsiteY2" fmla="*/ 64655 h 231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218" h="231802">
                    <a:moveTo>
                      <a:pt x="0" y="0"/>
                    </a:moveTo>
                    <a:cubicBezTo>
                      <a:pt x="20782" y="110066"/>
                      <a:pt x="41564" y="220133"/>
                      <a:pt x="101600" y="230909"/>
                    </a:cubicBezTo>
                    <a:cubicBezTo>
                      <a:pt x="161636" y="241685"/>
                      <a:pt x="260927" y="153170"/>
                      <a:pt x="360218" y="646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" name="Freihandform 35"/>
              <p:cNvSpPr/>
              <p:nvPr/>
            </p:nvSpPr>
            <p:spPr>
              <a:xfrm>
                <a:off x="3454400" y="2854036"/>
                <a:ext cx="1246909" cy="516342"/>
              </a:xfrm>
              <a:custGeom>
                <a:avLst/>
                <a:gdLst>
                  <a:gd name="connsiteX0" fmla="*/ 0 w 1246909"/>
                  <a:gd name="connsiteY0" fmla="*/ 0 h 516342"/>
                  <a:gd name="connsiteX1" fmla="*/ 434109 w 1246909"/>
                  <a:gd name="connsiteY1" fmla="*/ 508000 h 516342"/>
                  <a:gd name="connsiteX2" fmla="*/ 1246909 w 1246909"/>
                  <a:gd name="connsiteY2" fmla="*/ 267855 h 51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6909" h="516342">
                    <a:moveTo>
                      <a:pt x="0" y="0"/>
                    </a:moveTo>
                    <a:cubicBezTo>
                      <a:pt x="113145" y="231678"/>
                      <a:pt x="226291" y="463357"/>
                      <a:pt x="434109" y="508000"/>
                    </a:cubicBezTo>
                    <a:cubicBezTo>
                      <a:pt x="641927" y="552643"/>
                      <a:pt x="944418" y="410249"/>
                      <a:pt x="1246909" y="2678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" name="Freihandform 36"/>
              <p:cNvSpPr/>
              <p:nvPr/>
            </p:nvSpPr>
            <p:spPr>
              <a:xfrm>
                <a:off x="3057236" y="2844800"/>
                <a:ext cx="2697019" cy="780626"/>
              </a:xfrm>
              <a:custGeom>
                <a:avLst/>
                <a:gdLst>
                  <a:gd name="connsiteX0" fmla="*/ 0 w 2697019"/>
                  <a:gd name="connsiteY0" fmla="*/ 0 h 780626"/>
                  <a:gd name="connsiteX1" fmla="*/ 877455 w 2697019"/>
                  <a:gd name="connsiteY1" fmla="*/ 775855 h 780626"/>
                  <a:gd name="connsiteX2" fmla="*/ 2697019 w 2697019"/>
                  <a:gd name="connsiteY2" fmla="*/ 267855 h 78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7019" h="780626">
                    <a:moveTo>
                      <a:pt x="0" y="0"/>
                    </a:moveTo>
                    <a:cubicBezTo>
                      <a:pt x="213976" y="365606"/>
                      <a:pt x="427952" y="731213"/>
                      <a:pt x="877455" y="775855"/>
                    </a:cubicBezTo>
                    <a:cubicBezTo>
                      <a:pt x="1326958" y="820498"/>
                      <a:pt x="2011988" y="544176"/>
                      <a:pt x="2697019" y="2678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Textfeld 37"/>
              <p:cNvSpPr txBox="1"/>
              <p:nvPr/>
            </p:nvSpPr>
            <p:spPr>
              <a:xfrm>
                <a:off x="2054620" y="2992582"/>
                <a:ext cx="1468384" cy="238722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algn="ctr"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 dirty="0" err="1"/>
                  <a:t>Werkstück</a:t>
                </a:r>
                <a:endParaRPr lang="en-US" dirty="0"/>
              </a:p>
            </p:txBody>
          </p:sp>
          <p:sp>
            <p:nvSpPr>
              <p:cNvPr id="39" name="Freihandform 38"/>
              <p:cNvSpPr/>
              <p:nvPr/>
            </p:nvSpPr>
            <p:spPr>
              <a:xfrm>
                <a:off x="3771963" y="2438401"/>
                <a:ext cx="45719" cy="449600"/>
              </a:xfrm>
              <a:custGeom>
                <a:avLst/>
                <a:gdLst>
                  <a:gd name="connsiteX0" fmla="*/ 24181 w 34236"/>
                  <a:gd name="connsiteY0" fmla="*/ 0 h 490087"/>
                  <a:gd name="connsiteX1" fmla="*/ 33418 w 34236"/>
                  <a:gd name="connsiteY1" fmla="*/ 286327 h 490087"/>
                  <a:gd name="connsiteX2" fmla="*/ 5709 w 34236"/>
                  <a:gd name="connsiteY2" fmla="*/ 471055 h 49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36" h="490087">
                    <a:moveTo>
                      <a:pt x="24181" y="0"/>
                    </a:moveTo>
                    <a:cubicBezTo>
                      <a:pt x="30339" y="103909"/>
                      <a:pt x="36497" y="207818"/>
                      <a:pt x="33418" y="286327"/>
                    </a:cubicBezTo>
                    <a:cubicBezTo>
                      <a:pt x="30339" y="364836"/>
                      <a:pt x="-15843" y="549564"/>
                      <a:pt x="5709" y="4710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Freihandform 39"/>
              <p:cNvSpPr/>
              <p:nvPr/>
            </p:nvSpPr>
            <p:spPr>
              <a:xfrm>
                <a:off x="3860800" y="2170545"/>
                <a:ext cx="38440" cy="785091"/>
              </a:xfrm>
              <a:custGeom>
                <a:avLst/>
                <a:gdLst>
                  <a:gd name="connsiteX0" fmla="*/ 0 w 38440"/>
                  <a:gd name="connsiteY0" fmla="*/ 0 h 785091"/>
                  <a:gd name="connsiteX1" fmla="*/ 36945 w 38440"/>
                  <a:gd name="connsiteY1" fmla="*/ 480291 h 785091"/>
                  <a:gd name="connsiteX2" fmla="*/ 27709 w 38440"/>
                  <a:gd name="connsiteY2" fmla="*/ 785091 h 78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440" h="785091">
                    <a:moveTo>
                      <a:pt x="0" y="0"/>
                    </a:moveTo>
                    <a:cubicBezTo>
                      <a:pt x="16163" y="174721"/>
                      <a:pt x="32327" y="349443"/>
                      <a:pt x="36945" y="480291"/>
                    </a:cubicBezTo>
                    <a:cubicBezTo>
                      <a:pt x="41563" y="611139"/>
                      <a:pt x="34636" y="698115"/>
                      <a:pt x="27709" y="785091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11" name="Gerade Verbindung mit Pfeil 10"/>
            <p:cNvCxnSpPr/>
            <p:nvPr/>
          </p:nvCxnSpPr>
          <p:spPr>
            <a:xfrm flipV="1">
              <a:off x="4554479" y="2168314"/>
              <a:ext cx="1030350" cy="38092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/>
            <p:cNvCxnSpPr/>
            <p:nvPr/>
          </p:nvCxnSpPr>
          <p:spPr>
            <a:xfrm flipV="1">
              <a:off x="4556718" y="1838036"/>
              <a:ext cx="627190" cy="3786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/>
          </p:nvCxnSpPr>
          <p:spPr>
            <a:xfrm>
              <a:off x="4715076" y="2718319"/>
              <a:ext cx="739492" cy="49761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/>
          </p:nvCxnSpPr>
          <p:spPr>
            <a:xfrm flipH="1">
              <a:off x="3635896" y="3177248"/>
              <a:ext cx="441958" cy="6117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/>
            <p:nvPr/>
          </p:nvCxnSpPr>
          <p:spPr>
            <a:xfrm>
              <a:off x="4330619" y="3181262"/>
              <a:ext cx="200731" cy="6117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/>
          </p:nvCxnSpPr>
          <p:spPr>
            <a:xfrm flipH="1">
              <a:off x="3131840" y="2988122"/>
              <a:ext cx="603076" cy="382256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hteck 50"/>
          <p:cNvSpPr/>
          <p:nvPr/>
        </p:nvSpPr>
        <p:spPr>
          <a:xfrm>
            <a:off x="326173" y="171708"/>
            <a:ext cx="5760000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753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6804248" y="2008340"/>
            <a:ext cx="1622967" cy="1312329"/>
            <a:chOff x="2041236" y="727759"/>
            <a:chExt cx="4350328" cy="3595996"/>
          </a:xfrm>
        </p:grpSpPr>
        <p:grpSp>
          <p:nvGrpSpPr>
            <p:cNvPr id="5" name="Gruppieren 4"/>
            <p:cNvGrpSpPr/>
            <p:nvPr/>
          </p:nvGrpSpPr>
          <p:grpSpPr>
            <a:xfrm>
              <a:off x="2041236" y="727759"/>
              <a:ext cx="4350328" cy="3595996"/>
              <a:chOff x="2041236" y="727759"/>
              <a:chExt cx="4350328" cy="3595996"/>
            </a:xfrm>
          </p:grpSpPr>
          <p:grpSp>
            <p:nvGrpSpPr>
              <p:cNvPr id="12" name="Gruppieren 11"/>
              <p:cNvGrpSpPr/>
              <p:nvPr/>
            </p:nvGrpSpPr>
            <p:grpSpPr>
              <a:xfrm>
                <a:off x="3779912" y="727759"/>
                <a:ext cx="935164" cy="2735873"/>
                <a:chOff x="6742416" y="3265227"/>
                <a:chExt cx="935164" cy="2735873"/>
              </a:xfrm>
            </p:grpSpPr>
            <p:sp>
              <p:nvSpPr>
                <p:cNvPr id="44" name="Freihandform 43"/>
                <p:cNvSpPr/>
                <p:nvPr/>
              </p:nvSpPr>
              <p:spPr>
                <a:xfrm>
                  <a:off x="6777480" y="3265227"/>
                  <a:ext cx="633890" cy="2089538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33890" h="2089538">
                      <a:moveTo>
                        <a:pt x="0" y="2087418"/>
                      </a:moveTo>
                      <a:cubicBezTo>
                        <a:pt x="484909" y="2159769"/>
                        <a:pt x="775854" y="358679"/>
                        <a:pt x="563418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5" name="Rechteck 44"/>
                <p:cNvSpPr/>
                <p:nvPr/>
              </p:nvSpPr>
              <p:spPr>
                <a:xfrm>
                  <a:off x="6742416" y="4056884"/>
                  <a:ext cx="935164" cy="194421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13" name="Gruppieren 12"/>
              <p:cNvGrpSpPr/>
              <p:nvPr/>
            </p:nvGrpSpPr>
            <p:grpSpPr>
              <a:xfrm>
                <a:off x="4158424" y="727760"/>
                <a:ext cx="2160240" cy="2376264"/>
                <a:chOff x="4139952" y="908720"/>
                <a:chExt cx="2160240" cy="2376264"/>
              </a:xfrm>
            </p:grpSpPr>
            <p:grpSp>
              <p:nvGrpSpPr>
                <p:cNvPr id="40" name="Gruppieren 39"/>
                <p:cNvGrpSpPr/>
                <p:nvPr/>
              </p:nvGrpSpPr>
              <p:grpSpPr>
                <a:xfrm>
                  <a:off x="4139952" y="908720"/>
                  <a:ext cx="2160240" cy="2376264"/>
                  <a:chOff x="4139952" y="908720"/>
                  <a:chExt cx="2160240" cy="2376264"/>
                </a:xfrm>
              </p:grpSpPr>
              <p:cxnSp>
                <p:nvCxnSpPr>
                  <p:cNvPr id="42" name="Gerade Verbindung 41"/>
                  <p:cNvCxnSpPr/>
                  <p:nvPr/>
                </p:nvCxnSpPr>
                <p:spPr>
                  <a:xfrm flipH="1">
                    <a:off x="4139952" y="908720"/>
                    <a:ext cx="432048" cy="237626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42"/>
                  <p:cNvCxnSpPr/>
                  <p:nvPr/>
                </p:nvCxnSpPr>
                <p:spPr>
                  <a:xfrm flipH="1">
                    <a:off x="4139952" y="3068960"/>
                    <a:ext cx="2160240" cy="21602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1" name="Gerade Verbindung 27"/>
                <p:cNvCxnSpPr/>
                <p:nvPr/>
              </p:nvCxnSpPr>
              <p:spPr>
                <a:xfrm rot="16200000" flipH="1">
                  <a:off x="4355976" y="1124744"/>
                  <a:ext cx="2160240" cy="1728192"/>
                </a:xfrm>
                <a:prstGeom prst="curvedConnector3">
                  <a:avLst>
                    <a:gd name="adj1" fmla="val 50000"/>
                  </a:avLst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uppieren 13"/>
              <p:cNvGrpSpPr/>
              <p:nvPr/>
            </p:nvGrpSpPr>
            <p:grpSpPr>
              <a:xfrm>
                <a:off x="2047960" y="763397"/>
                <a:ext cx="1874940" cy="2089540"/>
                <a:chOff x="2069203" y="740761"/>
                <a:chExt cx="1874940" cy="2089540"/>
              </a:xfrm>
            </p:grpSpPr>
            <p:sp>
              <p:nvSpPr>
                <p:cNvPr id="38" name="Freihandform 37"/>
                <p:cNvSpPr/>
                <p:nvPr/>
              </p:nvSpPr>
              <p:spPr>
                <a:xfrm>
                  <a:off x="3544247" y="740761"/>
                  <a:ext cx="399896" cy="2059735"/>
                </a:xfrm>
                <a:custGeom>
                  <a:avLst/>
                  <a:gdLst>
                    <a:gd name="connsiteX0" fmla="*/ 0 w 1080654"/>
                    <a:gd name="connsiteY0" fmla="*/ 1893454 h 2068568"/>
                    <a:gd name="connsiteX1" fmla="*/ 794327 w 1080654"/>
                    <a:gd name="connsiteY1" fmla="*/ 1884218 h 2068568"/>
                    <a:gd name="connsiteX2" fmla="*/ 1080654 w 1080654"/>
                    <a:gd name="connsiteY2" fmla="*/ 0 h 2068568"/>
                    <a:gd name="connsiteX0" fmla="*/ 0 w 286327"/>
                    <a:gd name="connsiteY0" fmla="*/ 1884218 h 1884218"/>
                    <a:gd name="connsiteX1" fmla="*/ 286327 w 286327"/>
                    <a:gd name="connsiteY1" fmla="*/ 0 h 1884218"/>
                    <a:gd name="connsiteX0" fmla="*/ 0 w 563418"/>
                    <a:gd name="connsiteY0" fmla="*/ 2087418 h 2087418"/>
                    <a:gd name="connsiteX1" fmla="*/ 563418 w 563418"/>
                    <a:gd name="connsiteY1" fmla="*/ 0 h 2087418"/>
                    <a:gd name="connsiteX0" fmla="*/ 0 w 563418"/>
                    <a:gd name="connsiteY0" fmla="*/ 2087418 h 2089517"/>
                    <a:gd name="connsiteX1" fmla="*/ 563418 w 563418"/>
                    <a:gd name="connsiteY1" fmla="*/ 0 h 2089517"/>
                    <a:gd name="connsiteX0" fmla="*/ 0 w 633890"/>
                    <a:gd name="connsiteY0" fmla="*/ 2087418 h 2089538"/>
                    <a:gd name="connsiteX1" fmla="*/ 563418 w 633890"/>
                    <a:gd name="connsiteY1" fmla="*/ 0 h 2089538"/>
                    <a:gd name="connsiteX0" fmla="*/ 0 w 496850"/>
                    <a:gd name="connsiteY0" fmla="*/ 2068946 h 2071087"/>
                    <a:gd name="connsiteX1" fmla="*/ 397163 w 496850"/>
                    <a:gd name="connsiteY1" fmla="*/ 0 h 2071087"/>
                    <a:gd name="connsiteX0" fmla="*/ 0 w 429571"/>
                    <a:gd name="connsiteY0" fmla="*/ 2059710 h 2061862"/>
                    <a:gd name="connsiteX1" fmla="*/ 304799 w 429571"/>
                    <a:gd name="connsiteY1" fmla="*/ 0 h 2061862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429571"/>
                    <a:gd name="connsiteY0" fmla="*/ 2059710 h 2059710"/>
                    <a:gd name="connsiteX1" fmla="*/ 304799 w 429571"/>
                    <a:gd name="connsiteY1" fmla="*/ 0 h 2059710"/>
                    <a:gd name="connsiteX0" fmla="*/ 0 w 399896"/>
                    <a:gd name="connsiteY0" fmla="*/ 2059710 h 2059735"/>
                    <a:gd name="connsiteX1" fmla="*/ 304799 w 399896"/>
                    <a:gd name="connsiteY1" fmla="*/ 0 h 205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9896" h="2059735">
                      <a:moveTo>
                        <a:pt x="0" y="2059710"/>
                      </a:moveTo>
                      <a:cubicBezTo>
                        <a:pt x="355599" y="2067407"/>
                        <a:pt x="517235" y="358679"/>
                        <a:pt x="304799" y="0"/>
                      </a:cubicBezTo>
                    </a:path>
                  </a:pathLst>
                </a:cu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39" name="Gerade Verbindung 38"/>
                <p:cNvCxnSpPr>
                  <a:endCxn id="38" idx="0"/>
                </p:cNvCxnSpPr>
                <p:nvPr/>
              </p:nvCxnSpPr>
              <p:spPr>
                <a:xfrm flipV="1">
                  <a:off x="2069203" y="2800471"/>
                  <a:ext cx="1475044" cy="29830"/>
                </a:xfrm>
                <a:prstGeom prst="line">
                  <a:avLst/>
                </a:prstGeom>
                <a:no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cxnSp>
            <p:nvCxnSpPr>
              <p:cNvPr id="15" name="Gerade Verbindung 14"/>
              <p:cNvCxnSpPr/>
              <p:nvPr/>
            </p:nvCxnSpPr>
            <p:spPr>
              <a:xfrm flipH="1">
                <a:off x="4158424" y="1536603"/>
                <a:ext cx="290442" cy="1567421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prstDash val="sysDot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15"/>
              <p:cNvCxnSpPr/>
              <p:nvPr/>
            </p:nvCxnSpPr>
            <p:spPr>
              <a:xfrm>
                <a:off x="4158424" y="3104024"/>
                <a:ext cx="2213776" cy="0"/>
              </a:xfrm>
              <a:prstGeom prst="line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" name="Gerade Verbindung 16"/>
              <p:cNvCxnSpPr/>
              <p:nvPr/>
            </p:nvCxnSpPr>
            <p:spPr>
              <a:xfrm>
                <a:off x="3635896" y="2823107"/>
                <a:ext cx="504056" cy="262445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prstDash val="sysDot"/>
              </a:ln>
              <a:effectLst>
                <a:glow>
                  <a:schemeClr val="accent2">
                    <a:satMod val="175000"/>
                    <a:alpha val="40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mit Pfeil 35"/>
              <p:cNvCxnSpPr/>
              <p:nvPr/>
            </p:nvCxnSpPr>
            <p:spPr>
              <a:xfrm flipH="1">
                <a:off x="2533364" y="2508711"/>
                <a:ext cx="989641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Freihandform 20"/>
              <p:cNvSpPr/>
              <p:nvPr/>
            </p:nvSpPr>
            <p:spPr>
              <a:xfrm>
                <a:off x="2041236" y="2854036"/>
                <a:ext cx="4350328" cy="1469719"/>
              </a:xfrm>
              <a:custGeom>
                <a:avLst/>
                <a:gdLst>
                  <a:gd name="connsiteX0" fmla="*/ 0 w 4350328"/>
                  <a:gd name="connsiteY0" fmla="*/ 0 h 1432846"/>
                  <a:gd name="connsiteX1" fmla="*/ 1902691 w 4350328"/>
                  <a:gd name="connsiteY1" fmla="*/ 1431637 h 1432846"/>
                  <a:gd name="connsiteX2" fmla="*/ 4350328 w 4350328"/>
                  <a:gd name="connsiteY2" fmla="*/ 249382 h 1432846"/>
                  <a:gd name="connsiteX0" fmla="*/ 0 w 4350328"/>
                  <a:gd name="connsiteY0" fmla="*/ 0 h 1469719"/>
                  <a:gd name="connsiteX1" fmla="*/ 1902691 w 4350328"/>
                  <a:gd name="connsiteY1" fmla="*/ 1431637 h 1469719"/>
                  <a:gd name="connsiteX2" fmla="*/ 3084946 w 4350328"/>
                  <a:gd name="connsiteY2" fmla="*/ 988291 h 1469719"/>
                  <a:gd name="connsiteX3" fmla="*/ 4350328 w 4350328"/>
                  <a:gd name="connsiteY3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902691 w 4350328"/>
                  <a:gd name="connsiteY2" fmla="*/ 1431637 h 1469719"/>
                  <a:gd name="connsiteX3" fmla="*/ 3084946 w 4350328"/>
                  <a:gd name="connsiteY3" fmla="*/ 988291 h 1469719"/>
                  <a:gd name="connsiteX4" fmla="*/ 4350328 w 4350328"/>
                  <a:gd name="connsiteY4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350328 w 4350328"/>
                  <a:gd name="connsiteY5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3629891 w 4350328"/>
                  <a:gd name="connsiteY5" fmla="*/ 738909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775855 w 4350328"/>
                  <a:gd name="connsiteY1" fmla="*/ 840509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184073 w 4350328"/>
                  <a:gd name="connsiteY5" fmla="*/ 988291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1348509 w 4350328"/>
                  <a:gd name="connsiteY2" fmla="*/ 1219200 h 1469719"/>
                  <a:gd name="connsiteX3" fmla="*/ 1902691 w 4350328"/>
                  <a:gd name="connsiteY3" fmla="*/ 1431637 h 1469719"/>
                  <a:gd name="connsiteX4" fmla="*/ 3084946 w 4350328"/>
                  <a:gd name="connsiteY4" fmla="*/ 988291 h 1469719"/>
                  <a:gd name="connsiteX5" fmla="*/ 4184073 w 4350328"/>
                  <a:gd name="connsiteY5" fmla="*/ 988291 h 1469719"/>
                  <a:gd name="connsiteX6" fmla="*/ 4350328 w 4350328"/>
                  <a:gd name="connsiteY6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812800 w 4350328"/>
                  <a:gd name="connsiteY2" fmla="*/ 979055 h 1469719"/>
                  <a:gd name="connsiteX3" fmla="*/ 1348509 w 4350328"/>
                  <a:gd name="connsiteY3" fmla="*/ 1219200 h 1469719"/>
                  <a:gd name="connsiteX4" fmla="*/ 1902691 w 4350328"/>
                  <a:gd name="connsiteY4" fmla="*/ 1431637 h 1469719"/>
                  <a:gd name="connsiteX5" fmla="*/ 3084946 w 4350328"/>
                  <a:gd name="connsiteY5" fmla="*/ 988291 h 1469719"/>
                  <a:gd name="connsiteX6" fmla="*/ 4184073 w 4350328"/>
                  <a:gd name="connsiteY6" fmla="*/ 988291 h 1469719"/>
                  <a:gd name="connsiteX7" fmla="*/ 4350328 w 4350328"/>
                  <a:gd name="connsiteY7" fmla="*/ 249382 h 1469719"/>
                  <a:gd name="connsiteX0" fmla="*/ 0 w 4350328"/>
                  <a:gd name="connsiteY0" fmla="*/ 0 h 1469719"/>
                  <a:gd name="connsiteX1" fmla="*/ 193964 w 4350328"/>
                  <a:gd name="connsiteY1" fmla="*/ 572655 h 1469719"/>
                  <a:gd name="connsiteX2" fmla="*/ 812800 w 4350328"/>
                  <a:gd name="connsiteY2" fmla="*/ 979055 h 1469719"/>
                  <a:gd name="connsiteX3" fmla="*/ 1348509 w 4350328"/>
                  <a:gd name="connsiteY3" fmla="*/ 1219200 h 1469719"/>
                  <a:gd name="connsiteX4" fmla="*/ 1902691 w 4350328"/>
                  <a:gd name="connsiteY4" fmla="*/ 1431637 h 1469719"/>
                  <a:gd name="connsiteX5" fmla="*/ 3084946 w 4350328"/>
                  <a:gd name="connsiteY5" fmla="*/ 988291 h 1469719"/>
                  <a:gd name="connsiteX6" fmla="*/ 4184073 w 4350328"/>
                  <a:gd name="connsiteY6" fmla="*/ 988291 h 1469719"/>
                  <a:gd name="connsiteX7" fmla="*/ 4350328 w 4350328"/>
                  <a:gd name="connsiteY7" fmla="*/ 249382 h 146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50328" h="1469719">
                    <a:moveTo>
                      <a:pt x="0" y="0"/>
                    </a:moveTo>
                    <a:cubicBezTo>
                      <a:pt x="129309" y="140085"/>
                      <a:pt x="-132387" y="398703"/>
                      <a:pt x="193964" y="572655"/>
                    </a:cubicBezTo>
                    <a:cubicBezTo>
                      <a:pt x="329431" y="735831"/>
                      <a:pt x="703503" y="686571"/>
                      <a:pt x="812800" y="979055"/>
                    </a:cubicBezTo>
                    <a:cubicBezTo>
                      <a:pt x="1005224" y="1086813"/>
                      <a:pt x="1166861" y="1143770"/>
                      <a:pt x="1348509" y="1219200"/>
                    </a:cubicBezTo>
                    <a:cubicBezTo>
                      <a:pt x="1536315" y="1317721"/>
                      <a:pt x="1613285" y="1470122"/>
                      <a:pt x="1902691" y="1431637"/>
                    </a:cubicBezTo>
                    <a:cubicBezTo>
                      <a:pt x="2416849" y="1596352"/>
                      <a:pt x="2677006" y="1185334"/>
                      <a:pt x="3084946" y="988291"/>
                    </a:cubicBezTo>
                    <a:cubicBezTo>
                      <a:pt x="3372813" y="872836"/>
                      <a:pt x="3973176" y="1111443"/>
                      <a:pt x="4184073" y="988291"/>
                    </a:cubicBezTo>
                    <a:cubicBezTo>
                      <a:pt x="4394970" y="865140"/>
                      <a:pt x="4230255" y="330970"/>
                      <a:pt x="4350328" y="249382"/>
                    </a:cubicBezTo>
                  </a:path>
                </a:pathLst>
              </a:cu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" name="Freihandform 21"/>
              <p:cNvSpPr/>
              <p:nvPr/>
            </p:nvSpPr>
            <p:spPr>
              <a:xfrm>
                <a:off x="4248727" y="2050473"/>
                <a:ext cx="182258" cy="498763"/>
              </a:xfrm>
              <a:custGeom>
                <a:avLst/>
                <a:gdLst>
                  <a:gd name="connsiteX0" fmla="*/ 0 w 182258"/>
                  <a:gd name="connsiteY0" fmla="*/ 498763 h 498763"/>
                  <a:gd name="connsiteX1" fmla="*/ 175491 w 182258"/>
                  <a:gd name="connsiteY1" fmla="*/ 230909 h 498763"/>
                  <a:gd name="connsiteX2" fmla="*/ 129309 w 182258"/>
                  <a:gd name="connsiteY2" fmla="*/ 0 h 498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258" h="498763">
                    <a:moveTo>
                      <a:pt x="0" y="498763"/>
                    </a:moveTo>
                    <a:cubicBezTo>
                      <a:pt x="76970" y="406399"/>
                      <a:pt x="153940" y="314036"/>
                      <a:pt x="175491" y="230909"/>
                    </a:cubicBezTo>
                    <a:cubicBezTo>
                      <a:pt x="197042" y="147782"/>
                      <a:pt x="163175" y="73891"/>
                      <a:pt x="129309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Freihandform 22"/>
              <p:cNvSpPr/>
              <p:nvPr/>
            </p:nvSpPr>
            <p:spPr>
              <a:xfrm>
                <a:off x="4239491" y="1838036"/>
                <a:ext cx="373098" cy="877455"/>
              </a:xfrm>
              <a:custGeom>
                <a:avLst/>
                <a:gdLst>
                  <a:gd name="connsiteX0" fmla="*/ 0 w 373098"/>
                  <a:gd name="connsiteY0" fmla="*/ 877455 h 877455"/>
                  <a:gd name="connsiteX1" fmla="*/ 369454 w 373098"/>
                  <a:gd name="connsiteY1" fmla="*/ 443346 h 877455"/>
                  <a:gd name="connsiteX2" fmla="*/ 157018 w 373098"/>
                  <a:gd name="connsiteY2" fmla="*/ 0 h 87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098" h="877455">
                    <a:moveTo>
                      <a:pt x="0" y="877455"/>
                    </a:moveTo>
                    <a:cubicBezTo>
                      <a:pt x="171642" y="733521"/>
                      <a:pt x="343284" y="589588"/>
                      <a:pt x="369454" y="443346"/>
                    </a:cubicBezTo>
                    <a:cubicBezTo>
                      <a:pt x="395624" y="297104"/>
                      <a:pt x="276321" y="148552"/>
                      <a:pt x="157018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4" name="Freihandform 23"/>
              <p:cNvSpPr/>
              <p:nvPr/>
            </p:nvSpPr>
            <p:spPr>
              <a:xfrm>
                <a:off x="4184073" y="2822832"/>
                <a:ext cx="238096" cy="262113"/>
              </a:xfrm>
              <a:custGeom>
                <a:avLst/>
                <a:gdLst>
                  <a:gd name="connsiteX0" fmla="*/ 0 w 238096"/>
                  <a:gd name="connsiteY0" fmla="*/ 58913 h 262113"/>
                  <a:gd name="connsiteX1" fmla="*/ 230909 w 238096"/>
                  <a:gd name="connsiteY1" fmla="*/ 12732 h 262113"/>
                  <a:gd name="connsiteX2" fmla="*/ 157018 w 238096"/>
                  <a:gd name="connsiteY2" fmla="*/ 262113 h 262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96" h="262113">
                    <a:moveTo>
                      <a:pt x="0" y="58913"/>
                    </a:moveTo>
                    <a:cubicBezTo>
                      <a:pt x="102369" y="18889"/>
                      <a:pt x="204739" y="-21135"/>
                      <a:pt x="230909" y="12732"/>
                    </a:cubicBezTo>
                    <a:cubicBezTo>
                      <a:pt x="257079" y="46599"/>
                      <a:pt x="207048" y="154356"/>
                      <a:pt x="157018" y="262113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Freihandform 24"/>
              <p:cNvSpPr/>
              <p:nvPr/>
            </p:nvSpPr>
            <p:spPr>
              <a:xfrm>
                <a:off x="4424218" y="1717964"/>
                <a:ext cx="469151" cy="1330036"/>
              </a:xfrm>
              <a:custGeom>
                <a:avLst/>
                <a:gdLst>
                  <a:gd name="connsiteX0" fmla="*/ 0 w 469151"/>
                  <a:gd name="connsiteY0" fmla="*/ 0 h 1330036"/>
                  <a:gd name="connsiteX1" fmla="*/ 461818 w 469151"/>
                  <a:gd name="connsiteY1" fmla="*/ 618836 h 1330036"/>
                  <a:gd name="connsiteX2" fmla="*/ 240146 w 469151"/>
                  <a:gd name="connsiteY2" fmla="*/ 1330036 h 1330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151" h="1330036">
                    <a:moveTo>
                      <a:pt x="0" y="0"/>
                    </a:moveTo>
                    <a:cubicBezTo>
                      <a:pt x="210897" y="198581"/>
                      <a:pt x="421794" y="397163"/>
                      <a:pt x="461818" y="618836"/>
                    </a:cubicBezTo>
                    <a:cubicBezTo>
                      <a:pt x="501842" y="840509"/>
                      <a:pt x="370994" y="1085272"/>
                      <a:pt x="240146" y="1330036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6" name="Freihandform 25"/>
              <p:cNvSpPr/>
              <p:nvPr/>
            </p:nvSpPr>
            <p:spPr>
              <a:xfrm>
                <a:off x="4470400" y="1477818"/>
                <a:ext cx="799827" cy="1514764"/>
              </a:xfrm>
              <a:custGeom>
                <a:avLst/>
                <a:gdLst>
                  <a:gd name="connsiteX0" fmla="*/ 0 w 799827"/>
                  <a:gd name="connsiteY0" fmla="*/ 0 h 1514764"/>
                  <a:gd name="connsiteX1" fmla="*/ 757382 w 799827"/>
                  <a:gd name="connsiteY1" fmla="*/ 775855 h 1514764"/>
                  <a:gd name="connsiteX2" fmla="*/ 637309 w 799827"/>
                  <a:gd name="connsiteY2" fmla="*/ 1514764 h 1514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827" h="1514764">
                    <a:moveTo>
                      <a:pt x="0" y="0"/>
                    </a:moveTo>
                    <a:cubicBezTo>
                      <a:pt x="325582" y="261697"/>
                      <a:pt x="651164" y="523394"/>
                      <a:pt x="757382" y="775855"/>
                    </a:cubicBezTo>
                    <a:cubicBezTo>
                      <a:pt x="863600" y="1028316"/>
                      <a:pt x="750454" y="1271540"/>
                      <a:pt x="637309" y="1514764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Freihandform 26"/>
              <p:cNvSpPr/>
              <p:nvPr/>
            </p:nvSpPr>
            <p:spPr>
              <a:xfrm>
                <a:off x="4155072" y="1459345"/>
                <a:ext cx="65946" cy="1283855"/>
              </a:xfrm>
              <a:custGeom>
                <a:avLst/>
                <a:gdLst>
                  <a:gd name="connsiteX0" fmla="*/ 65946 w 65946"/>
                  <a:gd name="connsiteY0" fmla="*/ 1283855 h 1283855"/>
                  <a:gd name="connsiteX1" fmla="*/ 1292 w 65946"/>
                  <a:gd name="connsiteY1" fmla="*/ 822037 h 1283855"/>
                  <a:gd name="connsiteX2" fmla="*/ 29001 w 65946"/>
                  <a:gd name="connsiteY2" fmla="*/ 0 h 1283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946" h="1283855">
                    <a:moveTo>
                      <a:pt x="65946" y="1283855"/>
                    </a:moveTo>
                    <a:cubicBezTo>
                      <a:pt x="36697" y="1159934"/>
                      <a:pt x="7449" y="1036013"/>
                      <a:pt x="1292" y="822037"/>
                    </a:cubicBezTo>
                    <a:cubicBezTo>
                      <a:pt x="-4865" y="608061"/>
                      <a:pt x="12068" y="304030"/>
                      <a:pt x="29001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Freihandform 27"/>
              <p:cNvSpPr/>
              <p:nvPr/>
            </p:nvSpPr>
            <p:spPr>
              <a:xfrm>
                <a:off x="4236472" y="1450109"/>
                <a:ext cx="58437" cy="960582"/>
              </a:xfrm>
              <a:custGeom>
                <a:avLst/>
                <a:gdLst>
                  <a:gd name="connsiteX0" fmla="*/ 58437 w 58437"/>
                  <a:gd name="connsiteY0" fmla="*/ 960582 h 960582"/>
                  <a:gd name="connsiteX1" fmla="*/ 3019 w 58437"/>
                  <a:gd name="connsiteY1" fmla="*/ 618836 h 960582"/>
                  <a:gd name="connsiteX2" fmla="*/ 12255 w 58437"/>
                  <a:gd name="connsiteY2" fmla="*/ 0 h 960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37" h="960582">
                    <a:moveTo>
                      <a:pt x="58437" y="960582"/>
                    </a:moveTo>
                    <a:cubicBezTo>
                      <a:pt x="34576" y="869757"/>
                      <a:pt x="10716" y="778933"/>
                      <a:pt x="3019" y="618836"/>
                    </a:cubicBezTo>
                    <a:cubicBezTo>
                      <a:pt x="-4678" y="458739"/>
                      <a:pt x="3788" y="229369"/>
                      <a:pt x="12255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Freihandform 28"/>
              <p:cNvSpPr/>
              <p:nvPr/>
            </p:nvSpPr>
            <p:spPr>
              <a:xfrm>
                <a:off x="4301126" y="1413164"/>
                <a:ext cx="58438" cy="618836"/>
              </a:xfrm>
              <a:custGeom>
                <a:avLst/>
                <a:gdLst>
                  <a:gd name="connsiteX0" fmla="*/ 58438 w 58438"/>
                  <a:gd name="connsiteY0" fmla="*/ 618836 h 618836"/>
                  <a:gd name="connsiteX1" fmla="*/ 3019 w 58438"/>
                  <a:gd name="connsiteY1" fmla="*/ 369454 h 618836"/>
                  <a:gd name="connsiteX2" fmla="*/ 12256 w 58438"/>
                  <a:gd name="connsiteY2" fmla="*/ 0 h 61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438" h="618836">
                    <a:moveTo>
                      <a:pt x="58438" y="618836"/>
                    </a:moveTo>
                    <a:cubicBezTo>
                      <a:pt x="34577" y="545714"/>
                      <a:pt x="10716" y="472593"/>
                      <a:pt x="3019" y="369454"/>
                    </a:cubicBezTo>
                    <a:cubicBezTo>
                      <a:pt x="-4678" y="266315"/>
                      <a:pt x="3789" y="133157"/>
                      <a:pt x="12256" y="0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Freihandform 29"/>
              <p:cNvSpPr/>
              <p:nvPr/>
            </p:nvSpPr>
            <p:spPr>
              <a:xfrm>
                <a:off x="3887924" y="2992582"/>
                <a:ext cx="508585" cy="287220"/>
              </a:xfrm>
              <a:custGeom>
                <a:avLst/>
                <a:gdLst>
                  <a:gd name="connsiteX0" fmla="*/ 0 w 360218"/>
                  <a:gd name="connsiteY0" fmla="*/ 0 h 231802"/>
                  <a:gd name="connsiteX1" fmla="*/ 101600 w 360218"/>
                  <a:gd name="connsiteY1" fmla="*/ 230909 h 231802"/>
                  <a:gd name="connsiteX2" fmla="*/ 360218 w 360218"/>
                  <a:gd name="connsiteY2" fmla="*/ 64655 h 231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218" h="231802">
                    <a:moveTo>
                      <a:pt x="0" y="0"/>
                    </a:moveTo>
                    <a:cubicBezTo>
                      <a:pt x="20782" y="110066"/>
                      <a:pt x="41564" y="220133"/>
                      <a:pt x="101600" y="230909"/>
                    </a:cubicBezTo>
                    <a:cubicBezTo>
                      <a:pt x="161636" y="241685"/>
                      <a:pt x="260927" y="153170"/>
                      <a:pt x="360218" y="646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Freihandform 30"/>
              <p:cNvSpPr/>
              <p:nvPr/>
            </p:nvSpPr>
            <p:spPr>
              <a:xfrm>
                <a:off x="3454400" y="2854036"/>
                <a:ext cx="1246909" cy="516342"/>
              </a:xfrm>
              <a:custGeom>
                <a:avLst/>
                <a:gdLst>
                  <a:gd name="connsiteX0" fmla="*/ 0 w 1246909"/>
                  <a:gd name="connsiteY0" fmla="*/ 0 h 516342"/>
                  <a:gd name="connsiteX1" fmla="*/ 434109 w 1246909"/>
                  <a:gd name="connsiteY1" fmla="*/ 508000 h 516342"/>
                  <a:gd name="connsiteX2" fmla="*/ 1246909 w 1246909"/>
                  <a:gd name="connsiteY2" fmla="*/ 267855 h 516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6909" h="516342">
                    <a:moveTo>
                      <a:pt x="0" y="0"/>
                    </a:moveTo>
                    <a:cubicBezTo>
                      <a:pt x="113145" y="231678"/>
                      <a:pt x="226291" y="463357"/>
                      <a:pt x="434109" y="508000"/>
                    </a:cubicBezTo>
                    <a:cubicBezTo>
                      <a:pt x="641927" y="552643"/>
                      <a:pt x="944418" y="410249"/>
                      <a:pt x="1246909" y="2678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" name="Freihandform 31"/>
              <p:cNvSpPr/>
              <p:nvPr/>
            </p:nvSpPr>
            <p:spPr>
              <a:xfrm>
                <a:off x="3057236" y="2844800"/>
                <a:ext cx="2697019" cy="780626"/>
              </a:xfrm>
              <a:custGeom>
                <a:avLst/>
                <a:gdLst>
                  <a:gd name="connsiteX0" fmla="*/ 0 w 2697019"/>
                  <a:gd name="connsiteY0" fmla="*/ 0 h 780626"/>
                  <a:gd name="connsiteX1" fmla="*/ 877455 w 2697019"/>
                  <a:gd name="connsiteY1" fmla="*/ 775855 h 780626"/>
                  <a:gd name="connsiteX2" fmla="*/ 2697019 w 2697019"/>
                  <a:gd name="connsiteY2" fmla="*/ 267855 h 780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7019" h="780626">
                    <a:moveTo>
                      <a:pt x="0" y="0"/>
                    </a:moveTo>
                    <a:cubicBezTo>
                      <a:pt x="213976" y="365606"/>
                      <a:pt x="427952" y="731213"/>
                      <a:pt x="877455" y="775855"/>
                    </a:cubicBezTo>
                    <a:cubicBezTo>
                      <a:pt x="1326958" y="820498"/>
                      <a:pt x="2011988" y="544176"/>
                      <a:pt x="2697019" y="2678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" name="Freihandform 33"/>
              <p:cNvSpPr/>
              <p:nvPr/>
            </p:nvSpPr>
            <p:spPr>
              <a:xfrm>
                <a:off x="3771963" y="2438401"/>
                <a:ext cx="45719" cy="449600"/>
              </a:xfrm>
              <a:custGeom>
                <a:avLst/>
                <a:gdLst>
                  <a:gd name="connsiteX0" fmla="*/ 24181 w 34236"/>
                  <a:gd name="connsiteY0" fmla="*/ 0 h 490087"/>
                  <a:gd name="connsiteX1" fmla="*/ 33418 w 34236"/>
                  <a:gd name="connsiteY1" fmla="*/ 286327 h 490087"/>
                  <a:gd name="connsiteX2" fmla="*/ 5709 w 34236"/>
                  <a:gd name="connsiteY2" fmla="*/ 471055 h 490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36" h="490087">
                    <a:moveTo>
                      <a:pt x="24181" y="0"/>
                    </a:moveTo>
                    <a:cubicBezTo>
                      <a:pt x="30339" y="103909"/>
                      <a:pt x="36497" y="207818"/>
                      <a:pt x="33418" y="286327"/>
                    </a:cubicBezTo>
                    <a:cubicBezTo>
                      <a:pt x="30339" y="364836"/>
                      <a:pt x="-15843" y="549564"/>
                      <a:pt x="5709" y="471055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Freihandform 34"/>
              <p:cNvSpPr/>
              <p:nvPr/>
            </p:nvSpPr>
            <p:spPr>
              <a:xfrm>
                <a:off x="3860800" y="2170545"/>
                <a:ext cx="38440" cy="785091"/>
              </a:xfrm>
              <a:custGeom>
                <a:avLst/>
                <a:gdLst>
                  <a:gd name="connsiteX0" fmla="*/ 0 w 38440"/>
                  <a:gd name="connsiteY0" fmla="*/ 0 h 785091"/>
                  <a:gd name="connsiteX1" fmla="*/ 36945 w 38440"/>
                  <a:gd name="connsiteY1" fmla="*/ 480291 h 785091"/>
                  <a:gd name="connsiteX2" fmla="*/ 27709 w 38440"/>
                  <a:gd name="connsiteY2" fmla="*/ 785091 h 785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440" h="785091">
                    <a:moveTo>
                      <a:pt x="0" y="0"/>
                    </a:moveTo>
                    <a:cubicBezTo>
                      <a:pt x="16163" y="174721"/>
                      <a:pt x="32327" y="349443"/>
                      <a:pt x="36945" y="480291"/>
                    </a:cubicBezTo>
                    <a:cubicBezTo>
                      <a:pt x="41563" y="611139"/>
                      <a:pt x="34636" y="698115"/>
                      <a:pt x="27709" y="785091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6" name="Gerade Verbindung mit Pfeil 5"/>
            <p:cNvCxnSpPr/>
            <p:nvPr/>
          </p:nvCxnSpPr>
          <p:spPr>
            <a:xfrm flipV="1">
              <a:off x="4554479" y="2168314"/>
              <a:ext cx="1030350" cy="38092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/>
            <p:cNvCxnSpPr/>
            <p:nvPr/>
          </p:nvCxnSpPr>
          <p:spPr>
            <a:xfrm flipV="1">
              <a:off x="4556718" y="1838036"/>
              <a:ext cx="627190" cy="3786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mit Pfeil 7"/>
            <p:cNvCxnSpPr/>
            <p:nvPr/>
          </p:nvCxnSpPr>
          <p:spPr>
            <a:xfrm>
              <a:off x="4715076" y="2718319"/>
              <a:ext cx="739492" cy="49761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mit Pfeil 8"/>
            <p:cNvCxnSpPr/>
            <p:nvPr/>
          </p:nvCxnSpPr>
          <p:spPr>
            <a:xfrm flipH="1">
              <a:off x="3635896" y="3177248"/>
              <a:ext cx="441958" cy="6117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>
              <a:off x="4330619" y="3181262"/>
              <a:ext cx="200731" cy="611792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mit Pfeil 10"/>
            <p:cNvCxnSpPr/>
            <p:nvPr/>
          </p:nvCxnSpPr>
          <p:spPr>
            <a:xfrm flipH="1">
              <a:off x="3131840" y="2988122"/>
              <a:ext cx="603076" cy="382256"/>
            </a:xfrm>
            <a:prstGeom prst="straightConnector1">
              <a:avLst/>
            </a:prstGeom>
            <a:ln w="12700">
              <a:solidFill>
                <a:srgbClr val="C00000"/>
              </a:solidFill>
              <a:prstDash val="sysDot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7653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6</Words>
  <Application>Microsoft Office PowerPoint</Application>
  <PresentationFormat>Bildschirmpräsentation (4:3)</PresentationFormat>
  <Paragraphs>112</Paragraphs>
  <Slides>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Larissa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WZ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fiken CSI Paper20151130.pptx</dc:title>
  <dc:subject/>
  <dc:creator>Thorsten Augspurger</dc:creator>
  <cp:keywords/>
  <dc:description/>
  <cp:lastModifiedBy>Thorsten Augspurger</cp:lastModifiedBy>
  <cp:revision>72</cp:revision>
  <dcterms:created xsi:type="dcterms:W3CDTF">2015-11-26T12:04:34Z</dcterms:created>
  <dcterms:modified xsi:type="dcterms:W3CDTF">2016-02-17T12:13:36Z</dcterms:modified>
  <cp:category/>
</cp:coreProperties>
</file>